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7" r:id="rId1"/>
    <p:sldMasterId id="2147483771" r:id="rId2"/>
    <p:sldMasterId id="2147483786" r:id="rId3"/>
    <p:sldMasterId id="2147483904" r:id="rId4"/>
    <p:sldMasterId id="2147483926" r:id="rId5"/>
    <p:sldMasterId id="2147483946" r:id="rId6"/>
    <p:sldMasterId id="2147483959" r:id="rId7"/>
  </p:sldMasterIdLst>
  <p:notesMasterIdLst>
    <p:notesMasterId r:id="rId76"/>
  </p:notesMasterIdLst>
  <p:sldIdLst>
    <p:sldId id="256" r:id="rId8"/>
    <p:sldId id="3234" r:id="rId9"/>
    <p:sldId id="3202" r:id="rId10"/>
    <p:sldId id="3168" r:id="rId11"/>
    <p:sldId id="3176" r:id="rId12"/>
    <p:sldId id="257" r:id="rId13"/>
    <p:sldId id="2464" r:id="rId14"/>
    <p:sldId id="2892" r:id="rId15"/>
    <p:sldId id="3316" r:id="rId16"/>
    <p:sldId id="3306" r:id="rId17"/>
    <p:sldId id="3307" r:id="rId18"/>
    <p:sldId id="3308" r:id="rId19"/>
    <p:sldId id="3309" r:id="rId20"/>
    <p:sldId id="3310" r:id="rId21"/>
    <p:sldId id="3311" r:id="rId22"/>
    <p:sldId id="3312" r:id="rId23"/>
    <p:sldId id="3313" r:id="rId24"/>
    <p:sldId id="266" r:id="rId25"/>
    <p:sldId id="3314" r:id="rId26"/>
    <p:sldId id="268" r:id="rId27"/>
    <p:sldId id="269" r:id="rId28"/>
    <p:sldId id="3317" r:id="rId29"/>
    <p:sldId id="3024" r:id="rId30"/>
    <p:sldId id="3026" r:id="rId31"/>
    <p:sldId id="3238" r:id="rId32"/>
    <p:sldId id="2779" r:id="rId33"/>
    <p:sldId id="2491" r:id="rId34"/>
    <p:sldId id="3304" r:id="rId35"/>
    <p:sldId id="3305" r:id="rId36"/>
    <p:sldId id="2676" r:id="rId37"/>
    <p:sldId id="2682" r:id="rId38"/>
    <p:sldId id="2683" r:id="rId39"/>
    <p:sldId id="2701" r:id="rId40"/>
    <p:sldId id="2689" r:id="rId41"/>
    <p:sldId id="3318" r:id="rId42"/>
    <p:sldId id="423" r:id="rId43"/>
    <p:sldId id="2609" r:id="rId44"/>
    <p:sldId id="259" r:id="rId45"/>
    <p:sldId id="350" r:id="rId46"/>
    <p:sldId id="3213" r:id="rId47"/>
    <p:sldId id="378" r:id="rId48"/>
    <p:sldId id="379" r:id="rId49"/>
    <p:sldId id="345" r:id="rId50"/>
    <p:sldId id="329" r:id="rId51"/>
    <p:sldId id="347" r:id="rId52"/>
    <p:sldId id="260" r:id="rId53"/>
    <p:sldId id="3320" r:id="rId54"/>
    <p:sldId id="381" r:id="rId55"/>
    <p:sldId id="317" r:id="rId56"/>
    <p:sldId id="437" r:id="rId57"/>
    <p:sldId id="433" r:id="rId58"/>
    <p:sldId id="447" r:id="rId59"/>
    <p:sldId id="445" r:id="rId60"/>
    <p:sldId id="258" r:id="rId61"/>
    <p:sldId id="3319" r:id="rId62"/>
    <p:sldId id="331" r:id="rId63"/>
    <p:sldId id="332" r:id="rId64"/>
    <p:sldId id="333" r:id="rId65"/>
    <p:sldId id="334" r:id="rId66"/>
    <p:sldId id="3321" r:id="rId67"/>
    <p:sldId id="2504" r:id="rId68"/>
    <p:sldId id="2570" r:id="rId69"/>
    <p:sldId id="2580" r:id="rId70"/>
    <p:sldId id="2341" r:id="rId71"/>
    <p:sldId id="2579" r:id="rId72"/>
    <p:sldId id="2497" r:id="rId73"/>
    <p:sldId id="2483" r:id="rId74"/>
    <p:sldId id="3153" r:id="rId75"/>
  </p:sldIdLst>
  <p:sldSz cx="12192000" cy="6858000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258"/>
    <p:restoredTop sz="68196"/>
  </p:normalViewPr>
  <p:slideViewPr>
    <p:cSldViewPr snapToGrid="0">
      <p:cViewPr varScale="1">
        <p:scale>
          <a:sx n="69" d="100"/>
          <a:sy n="69" d="100"/>
        </p:scale>
        <p:origin x="1350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63" Type="http://schemas.openxmlformats.org/officeDocument/2006/relationships/slide" Target="slides/slide56.xml"/><Relationship Id="rId68" Type="http://schemas.openxmlformats.org/officeDocument/2006/relationships/slide" Target="slides/slide61.xml"/><Relationship Id="rId16" Type="http://schemas.openxmlformats.org/officeDocument/2006/relationships/slide" Target="slides/slide9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slide" Target="slides/slide51.xml"/><Relationship Id="rId66" Type="http://schemas.openxmlformats.org/officeDocument/2006/relationships/slide" Target="slides/slide59.xml"/><Relationship Id="rId74" Type="http://schemas.openxmlformats.org/officeDocument/2006/relationships/slide" Target="slides/slide67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4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64" Type="http://schemas.openxmlformats.org/officeDocument/2006/relationships/slide" Target="slides/slide57.xml"/><Relationship Id="rId69" Type="http://schemas.openxmlformats.org/officeDocument/2006/relationships/slide" Target="slides/slide62.xml"/><Relationship Id="rId77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72" Type="http://schemas.openxmlformats.org/officeDocument/2006/relationships/slide" Target="slides/slide65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slide" Target="slides/slide52.xml"/><Relationship Id="rId67" Type="http://schemas.openxmlformats.org/officeDocument/2006/relationships/slide" Target="slides/slide60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slide" Target="slides/slide55.xml"/><Relationship Id="rId70" Type="http://schemas.openxmlformats.org/officeDocument/2006/relationships/slide" Target="slides/slide63.xml"/><Relationship Id="rId75" Type="http://schemas.openxmlformats.org/officeDocument/2006/relationships/slide" Target="slides/slide6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slide" Target="slides/slide50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slide" Target="slides/slide53.xml"/><Relationship Id="rId65" Type="http://schemas.openxmlformats.org/officeDocument/2006/relationships/slide" Target="slides/slide58.xml"/><Relationship Id="rId73" Type="http://schemas.openxmlformats.org/officeDocument/2006/relationships/slide" Target="slides/slide66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slide" Target="slides/slide32.xml"/><Relationship Id="rId34" Type="http://schemas.openxmlformats.org/officeDocument/2006/relationships/slide" Target="slides/slide27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4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839A48-705F-4CBC-A49A-ACE90241B04E}" type="doc">
      <dgm:prSet loTypeId="urn:microsoft.com/office/officeart/2005/8/layout/arrow2" loCatId="process" qsTypeId="urn:microsoft.com/office/officeart/2005/8/quickstyle/simple1" qsCatId="simple" csTypeId="urn:microsoft.com/office/officeart/2005/8/colors/colorful3" csCatId="colorful" phldr="1"/>
      <dgm:spPr/>
    </dgm:pt>
    <dgm:pt modelId="{D1FF1CEF-5814-47F8-8DE3-024A816B628A}">
      <dgm:prSet phldrT="[文字]"/>
      <dgm:spPr/>
      <dgm:t>
        <a:bodyPr/>
        <a:lstStyle/>
        <a:p>
          <a:r>
            <a:rPr lang="en-US" dirty="0"/>
            <a:t>2020</a:t>
          </a:r>
          <a:r>
            <a:rPr lang="zh-TW" dirty="0"/>
            <a:t>年</a:t>
          </a:r>
          <a:endParaRPr lang="en-US" altLang="zh-TW" dirty="0"/>
        </a:p>
        <a:p>
          <a:r>
            <a:rPr lang="zh-TW" dirty="0"/>
            <a:t>全球營運已達成碳中和</a:t>
          </a:r>
          <a:endParaRPr lang="zh-TW" altLang="en-US" dirty="0"/>
        </a:p>
      </dgm:t>
    </dgm:pt>
    <dgm:pt modelId="{1086CF8D-431D-4EF6-92BB-BECF56470EB3}" type="parTrans" cxnId="{18E0E045-710F-429B-8D58-95CDA3A8B3A6}">
      <dgm:prSet/>
      <dgm:spPr/>
      <dgm:t>
        <a:bodyPr/>
        <a:lstStyle/>
        <a:p>
          <a:endParaRPr lang="zh-TW" altLang="en-US"/>
        </a:p>
      </dgm:t>
    </dgm:pt>
    <dgm:pt modelId="{65CD00F1-EE76-4577-85B1-8D321099FE48}" type="sibTrans" cxnId="{18E0E045-710F-429B-8D58-95CDA3A8B3A6}">
      <dgm:prSet/>
      <dgm:spPr/>
      <dgm:t>
        <a:bodyPr/>
        <a:lstStyle/>
        <a:p>
          <a:endParaRPr lang="zh-TW" altLang="en-US"/>
        </a:p>
      </dgm:t>
    </dgm:pt>
    <dgm:pt modelId="{DE7DC440-525D-4A99-9BCF-5645CCEB0A29}">
      <dgm:prSet phldrT="[文字]"/>
      <dgm:spPr/>
      <dgm:t>
        <a:bodyPr/>
        <a:lstStyle/>
        <a:p>
          <a:r>
            <a:rPr lang="en-US" dirty="0"/>
            <a:t>2030</a:t>
          </a:r>
          <a:r>
            <a:rPr lang="zh-TW" dirty="0"/>
            <a:t>年前</a:t>
          </a:r>
          <a:endParaRPr lang="en-US" altLang="zh-TW" dirty="0"/>
        </a:p>
        <a:p>
          <a:r>
            <a:rPr lang="zh-TW" dirty="0"/>
            <a:t>較</a:t>
          </a:r>
          <a:r>
            <a:rPr lang="en-US" dirty="0"/>
            <a:t>2015</a:t>
          </a:r>
          <a:r>
            <a:rPr lang="zh-TW" dirty="0"/>
            <a:t>年碳排放減少</a:t>
          </a:r>
          <a:r>
            <a:rPr lang="en-US" dirty="0"/>
            <a:t> 75%</a:t>
          </a:r>
          <a:endParaRPr lang="zh-TW" altLang="en-US" dirty="0"/>
        </a:p>
      </dgm:t>
    </dgm:pt>
    <dgm:pt modelId="{D83B6398-3437-4477-AF64-A319DDA74EFD}" type="parTrans" cxnId="{15E7D21A-85B0-4BAC-A89E-65E399531E0F}">
      <dgm:prSet/>
      <dgm:spPr/>
      <dgm:t>
        <a:bodyPr/>
        <a:lstStyle/>
        <a:p>
          <a:endParaRPr lang="zh-TW" altLang="en-US"/>
        </a:p>
      </dgm:t>
    </dgm:pt>
    <dgm:pt modelId="{911E59C7-B0F5-4614-88C4-B3F12099A4AE}" type="sibTrans" cxnId="{15E7D21A-85B0-4BAC-A89E-65E399531E0F}">
      <dgm:prSet/>
      <dgm:spPr/>
      <dgm:t>
        <a:bodyPr/>
        <a:lstStyle/>
        <a:p>
          <a:endParaRPr lang="zh-TW" altLang="en-US"/>
        </a:p>
      </dgm:t>
    </dgm:pt>
    <dgm:pt modelId="{5567B0DC-9C31-4CE3-8BFA-9173EF6C82E3}" type="pres">
      <dgm:prSet presAssocID="{81839A48-705F-4CBC-A49A-ACE90241B04E}" presName="arrowDiagram" presStyleCnt="0">
        <dgm:presLayoutVars>
          <dgm:chMax val="5"/>
          <dgm:dir/>
          <dgm:resizeHandles val="exact"/>
        </dgm:presLayoutVars>
      </dgm:prSet>
      <dgm:spPr/>
    </dgm:pt>
    <dgm:pt modelId="{C27C6206-0C41-48A7-9F9E-398C1B1B5CF1}" type="pres">
      <dgm:prSet presAssocID="{81839A48-705F-4CBC-A49A-ACE90241B04E}" presName="arrow" presStyleLbl="bgShp" presStyleIdx="0" presStyleCnt="1"/>
      <dgm:spPr/>
    </dgm:pt>
    <dgm:pt modelId="{34B26A0B-7CC5-4D61-BA46-55614B39B452}" type="pres">
      <dgm:prSet presAssocID="{81839A48-705F-4CBC-A49A-ACE90241B04E}" presName="arrowDiagram2" presStyleCnt="0"/>
      <dgm:spPr/>
    </dgm:pt>
    <dgm:pt modelId="{4ADB3861-AFEA-49A0-9995-F6C78A7AA388}" type="pres">
      <dgm:prSet presAssocID="{D1FF1CEF-5814-47F8-8DE3-024A816B628A}" presName="bullet2a" presStyleLbl="node1" presStyleIdx="0" presStyleCnt="2"/>
      <dgm:spPr/>
    </dgm:pt>
    <dgm:pt modelId="{0A415A08-3B88-4D37-A544-CFB1D77E0720}" type="pres">
      <dgm:prSet presAssocID="{D1FF1CEF-5814-47F8-8DE3-024A816B628A}" presName="textBox2a" presStyleLbl="revTx" presStyleIdx="0" presStyleCnt="2">
        <dgm:presLayoutVars>
          <dgm:bulletEnabled val="1"/>
        </dgm:presLayoutVars>
      </dgm:prSet>
      <dgm:spPr/>
    </dgm:pt>
    <dgm:pt modelId="{8B7BC0E0-5F3F-4C27-95DB-0FAA3C0264B9}" type="pres">
      <dgm:prSet presAssocID="{DE7DC440-525D-4A99-9BCF-5645CCEB0A29}" presName="bullet2b" presStyleLbl="node1" presStyleIdx="1" presStyleCnt="2"/>
      <dgm:spPr/>
    </dgm:pt>
    <dgm:pt modelId="{F11FBA80-32B9-4942-8465-0E2E0B0A918F}" type="pres">
      <dgm:prSet presAssocID="{DE7DC440-525D-4A99-9BCF-5645CCEB0A29}" presName="textBox2b" presStyleLbl="revTx" presStyleIdx="1" presStyleCnt="2" custScaleX="113457" custLinFactNeighborX="3490" custLinFactNeighborY="548">
        <dgm:presLayoutVars>
          <dgm:bulletEnabled val="1"/>
        </dgm:presLayoutVars>
      </dgm:prSet>
      <dgm:spPr/>
    </dgm:pt>
  </dgm:ptLst>
  <dgm:cxnLst>
    <dgm:cxn modelId="{15E7D21A-85B0-4BAC-A89E-65E399531E0F}" srcId="{81839A48-705F-4CBC-A49A-ACE90241B04E}" destId="{DE7DC440-525D-4A99-9BCF-5645CCEB0A29}" srcOrd="1" destOrd="0" parTransId="{D83B6398-3437-4477-AF64-A319DDA74EFD}" sibTransId="{911E59C7-B0F5-4614-88C4-B3F12099A4AE}"/>
    <dgm:cxn modelId="{18E0E045-710F-429B-8D58-95CDA3A8B3A6}" srcId="{81839A48-705F-4CBC-A49A-ACE90241B04E}" destId="{D1FF1CEF-5814-47F8-8DE3-024A816B628A}" srcOrd="0" destOrd="0" parTransId="{1086CF8D-431D-4EF6-92BB-BECF56470EB3}" sibTransId="{65CD00F1-EE76-4577-85B1-8D321099FE48}"/>
    <dgm:cxn modelId="{85E7A387-06DC-4172-88E3-FD4CC88F6936}" type="presOf" srcId="{D1FF1CEF-5814-47F8-8DE3-024A816B628A}" destId="{0A415A08-3B88-4D37-A544-CFB1D77E0720}" srcOrd="0" destOrd="0" presId="urn:microsoft.com/office/officeart/2005/8/layout/arrow2"/>
    <dgm:cxn modelId="{694E11C7-04A8-4DB6-85DE-CF90C34EA24C}" type="presOf" srcId="{DE7DC440-525D-4A99-9BCF-5645CCEB0A29}" destId="{F11FBA80-32B9-4942-8465-0E2E0B0A918F}" srcOrd="0" destOrd="0" presId="urn:microsoft.com/office/officeart/2005/8/layout/arrow2"/>
    <dgm:cxn modelId="{81B4BBF8-E5B4-4793-B170-2901044B4A4B}" type="presOf" srcId="{81839A48-705F-4CBC-A49A-ACE90241B04E}" destId="{5567B0DC-9C31-4CE3-8BFA-9173EF6C82E3}" srcOrd="0" destOrd="0" presId="urn:microsoft.com/office/officeart/2005/8/layout/arrow2"/>
    <dgm:cxn modelId="{D932909B-0E06-4423-80EB-B44ABCEF7CE3}" type="presParOf" srcId="{5567B0DC-9C31-4CE3-8BFA-9173EF6C82E3}" destId="{C27C6206-0C41-48A7-9F9E-398C1B1B5CF1}" srcOrd="0" destOrd="0" presId="urn:microsoft.com/office/officeart/2005/8/layout/arrow2"/>
    <dgm:cxn modelId="{A1970607-0778-4370-9762-1C73499A3D44}" type="presParOf" srcId="{5567B0DC-9C31-4CE3-8BFA-9173EF6C82E3}" destId="{34B26A0B-7CC5-4D61-BA46-55614B39B452}" srcOrd="1" destOrd="0" presId="urn:microsoft.com/office/officeart/2005/8/layout/arrow2"/>
    <dgm:cxn modelId="{650F7FF4-C96C-4134-885A-E6410E50E252}" type="presParOf" srcId="{34B26A0B-7CC5-4D61-BA46-55614B39B452}" destId="{4ADB3861-AFEA-49A0-9995-F6C78A7AA388}" srcOrd="0" destOrd="0" presId="urn:microsoft.com/office/officeart/2005/8/layout/arrow2"/>
    <dgm:cxn modelId="{50533121-B28B-4D63-9756-6D5B267E7E81}" type="presParOf" srcId="{34B26A0B-7CC5-4D61-BA46-55614B39B452}" destId="{0A415A08-3B88-4D37-A544-CFB1D77E0720}" srcOrd="1" destOrd="0" presId="urn:microsoft.com/office/officeart/2005/8/layout/arrow2"/>
    <dgm:cxn modelId="{DBFDF25C-0E46-4FC6-B1E0-6E8643D6EE6B}" type="presParOf" srcId="{34B26A0B-7CC5-4D61-BA46-55614B39B452}" destId="{8B7BC0E0-5F3F-4C27-95DB-0FAA3C0264B9}" srcOrd="2" destOrd="0" presId="urn:microsoft.com/office/officeart/2005/8/layout/arrow2"/>
    <dgm:cxn modelId="{B92D3A2B-2DBA-46BB-8089-76177B61FC7A}" type="presParOf" srcId="{34B26A0B-7CC5-4D61-BA46-55614B39B452}" destId="{F11FBA80-32B9-4942-8465-0E2E0B0A918F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468F02-C816-4B46-8E21-30C4178D6045}" type="doc">
      <dgm:prSet loTypeId="urn:microsoft.com/office/officeart/2005/8/layout/arrow2" loCatId="process" qsTypeId="urn:microsoft.com/office/officeart/2005/8/quickstyle/simple1" qsCatId="simple" csTypeId="urn:microsoft.com/office/officeart/2005/8/colors/colorful3" csCatId="colorful" phldr="1"/>
      <dgm:spPr/>
    </dgm:pt>
    <dgm:pt modelId="{EB233213-E331-4D49-BF64-8AE69C88E285}">
      <dgm:prSet phldrT="[文字]"/>
      <dgm:spPr/>
      <dgm:t>
        <a:bodyPr/>
        <a:lstStyle/>
        <a:p>
          <a:r>
            <a:rPr lang="en-US" altLang="zh-TW" dirty="0"/>
            <a:t>2025</a:t>
          </a:r>
          <a:r>
            <a:rPr lang="zh-TW" altLang="en-US" dirty="0"/>
            <a:t>年</a:t>
          </a:r>
          <a:endParaRPr lang="en-US" altLang="zh-TW" dirty="0"/>
        </a:p>
        <a:p>
          <a:r>
            <a:rPr lang="zh-TW" altLang="en-US" dirty="0"/>
            <a:t>較</a:t>
          </a:r>
          <a:r>
            <a:rPr lang="en-US" altLang="zh-TW" dirty="0"/>
            <a:t>2018</a:t>
          </a:r>
          <a:r>
            <a:rPr lang="zh-TW" altLang="en-US" dirty="0"/>
            <a:t>年減排</a:t>
          </a:r>
          <a:r>
            <a:rPr lang="en-US" altLang="zh-TW" dirty="0">
              <a:solidFill>
                <a:srgbClr val="FF0000"/>
              </a:solidFill>
            </a:rPr>
            <a:t>20%</a:t>
          </a:r>
          <a:endParaRPr lang="zh-TW" altLang="en-US" dirty="0">
            <a:solidFill>
              <a:srgbClr val="FF0000"/>
            </a:solidFill>
          </a:endParaRPr>
        </a:p>
      </dgm:t>
    </dgm:pt>
    <dgm:pt modelId="{24F7AB02-B545-46CF-8FB0-50C9751CDB83}" type="parTrans" cxnId="{981EA3E7-5A8D-4310-8ABA-C1E61689D2CC}">
      <dgm:prSet/>
      <dgm:spPr/>
      <dgm:t>
        <a:bodyPr/>
        <a:lstStyle/>
        <a:p>
          <a:endParaRPr lang="zh-TW" altLang="en-US"/>
        </a:p>
      </dgm:t>
    </dgm:pt>
    <dgm:pt modelId="{5FF598AA-0D4F-4891-9CA7-1A72E0C265F4}" type="sibTrans" cxnId="{981EA3E7-5A8D-4310-8ABA-C1E61689D2CC}">
      <dgm:prSet/>
      <dgm:spPr/>
      <dgm:t>
        <a:bodyPr/>
        <a:lstStyle/>
        <a:p>
          <a:endParaRPr lang="zh-TW" altLang="en-US"/>
        </a:p>
      </dgm:t>
    </dgm:pt>
    <dgm:pt modelId="{99D45B28-68AD-4209-8FCB-8317BD7070A0}">
      <dgm:prSet phldrT="[文字]"/>
      <dgm:spPr/>
      <dgm:t>
        <a:bodyPr/>
        <a:lstStyle/>
        <a:p>
          <a:r>
            <a:rPr lang="en-US" altLang="zh-TW" dirty="0"/>
            <a:t>2030</a:t>
          </a:r>
          <a:r>
            <a:rPr lang="zh-TW" altLang="en-US" dirty="0"/>
            <a:t>年</a:t>
          </a:r>
          <a:endParaRPr lang="en-US" altLang="zh-TW" dirty="0"/>
        </a:p>
        <a:p>
          <a:r>
            <a:rPr lang="zh-TW" altLang="en-US" dirty="0"/>
            <a:t>較</a:t>
          </a:r>
          <a:r>
            <a:rPr lang="en-US" altLang="zh-TW" dirty="0"/>
            <a:t>2018</a:t>
          </a:r>
          <a:r>
            <a:rPr lang="zh-TW" altLang="en-US" dirty="0"/>
            <a:t>年減排</a:t>
          </a:r>
          <a:r>
            <a:rPr lang="en-US" altLang="zh-TW" dirty="0">
              <a:solidFill>
                <a:srgbClr val="FF0000"/>
              </a:solidFill>
            </a:rPr>
            <a:t>50%</a:t>
          </a:r>
          <a:endParaRPr lang="zh-TW" altLang="en-US" dirty="0">
            <a:solidFill>
              <a:srgbClr val="FF0000"/>
            </a:solidFill>
          </a:endParaRPr>
        </a:p>
      </dgm:t>
    </dgm:pt>
    <dgm:pt modelId="{B46DFD8D-09AF-4CBF-BCAE-77A405409B15}" type="parTrans" cxnId="{BD8C1719-7301-421D-B110-89D010547BFA}">
      <dgm:prSet/>
      <dgm:spPr/>
      <dgm:t>
        <a:bodyPr/>
        <a:lstStyle/>
        <a:p>
          <a:endParaRPr lang="zh-TW" altLang="en-US"/>
        </a:p>
      </dgm:t>
    </dgm:pt>
    <dgm:pt modelId="{02270AC9-8FEC-44AE-8666-B641F50D7E4B}" type="sibTrans" cxnId="{BD8C1719-7301-421D-B110-89D010547BFA}">
      <dgm:prSet/>
      <dgm:spPr/>
      <dgm:t>
        <a:bodyPr/>
        <a:lstStyle/>
        <a:p>
          <a:endParaRPr lang="zh-TW" altLang="en-US"/>
        </a:p>
      </dgm:t>
    </dgm:pt>
    <dgm:pt modelId="{A87F5B8D-ADB3-42F5-9466-8CEF117B37A8}">
      <dgm:prSet phldrT="[文字]"/>
      <dgm:spPr/>
      <dgm:t>
        <a:bodyPr/>
        <a:lstStyle/>
        <a:p>
          <a:pPr algn="l"/>
          <a:r>
            <a:rPr lang="en-US" altLang="zh-TW" dirty="0"/>
            <a:t>2050</a:t>
          </a:r>
          <a:r>
            <a:rPr lang="zh-TW" altLang="en-US" dirty="0"/>
            <a:t>年</a:t>
          </a:r>
          <a:endParaRPr lang="en-US" altLang="zh-TW" dirty="0"/>
        </a:p>
        <a:p>
          <a:pPr algn="l"/>
          <a:r>
            <a:rPr lang="zh-TW" altLang="en-US" dirty="0"/>
            <a:t>達到</a:t>
          </a:r>
          <a:r>
            <a:rPr lang="zh-TW" altLang="en-US" dirty="0">
              <a:solidFill>
                <a:srgbClr val="FF0000"/>
              </a:solidFill>
            </a:rPr>
            <a:t>零碳</a:t>
          </a:r>
          <a:r>
            <a:rPr lang="zh-TW" altLang="en-US" dirty="0"/>
            <a:t>排</a:t>
          </a:r>
        </a:p>
      </dgm:t>
    </dgm:pt>
    <dgm:pt modelId="{3C6A1114-AE33-411A-990B-7FEE67288122}" type="parTrans" cxnId="{C60EDB04-5FCF-4147-B718-84D4C71BF4AC}">
      <dgm:prSet/>
      <dgm:spPr/>
      <dgm:t>
        <a:bodyPr/>
        <a:lstStyle/>
        <a:p>
          <a:endParaRPr lang="zh-TW" altLang="en-US"/>
        </a:p>
      </dgm:t>
    </dgm:pt>
    <dgm:pt modelId="{57EBBD1B-7BBF-48C4-BC5A-E2297024772F}" type="sibTrans" cxnId="{C60EDB04-5FCF-4147-B718-84D4C71BF4AC}">
      <dgm:prSet/>
      <dgm:spPr/>
      <dgm:t>
        <a:bodyPr/>
        <a:lstStyle/>
        <a:p>
          <a:endParaRPr lang="zh-TW" altLang="en-US"/>
        </a:p>
      </dgm:t>
    </dgm:pt>
    <dgm:pt modelId="{A549CF6C-E205-45D3-9E72-D7E352492E21}" type="pres">
      <dgm:prSet presAssocID="{CA468F02-C816-4B46-8E21-30C4178D6045}" presName="arrowDiagram" presStyleCnt="0">
        <dgm:presLayoutVars>
          <dgm:chMax val="5"/>
          <dgm:dir/>
          <dgm:resizeHandles val="exact"/>
        </dgm:presLayoutVars>
      </dgm:prSet>
      <dgm:spPr/>
    </dgm:pt>
    <dgm:pt modelId="{B09633E1-BB4D-478A-8A1D-1E9153E5A0F2}" type="pres">
      <dgm:prSet presAssocID="{CA468F02-C816-4B46-8E21-30C4178D6045}" presName="arrow" presStyleLbl="bgShp" presStyleIdx="0" presStyleCnt="1"/>
      <dgm:spPr/>
    </dgm:pt>
    <dgm:pt modelId="{1921D71B-6518-4592-884F-CDBBE1D6869B}" type="pres">
      <dgm:prSet presAssocID="{CA468F02-C816-4B46-8E21-30C4178D6045}" presName="arrowDiagram3" presStyleCnt="0"/>
      <dgm:spPr/>
    </dgm:pt>
    <dgm:pt modelId="{51F0429C-1275-4B1B-8CCF-D82ED5FEA582}" type="pres">
      <dgm:prSet presAssocID="{EB233213-E331-4D49-BF64-8AE69C88E285}" presName="bullet3a" presStyleLbl="node1" presStyleIdx="0" presStyleCnt="3"/>
      <dgm:spPr/>
    </dgm:pt>
    <dgm:pt modelId="{D5DDCADD-F373-448E-B8CD-056667483DE6}" type="pres">
      <dgm:prSet presAssocID="{EB233213-E331-4D49-BF64-8AE69C88E285}" presName="textBox3a" presStyleLbl="revTx" presStyleIdx="0" presStyleCnt="3">
        <dgm:presLayoutVars>
          <dgm:bulletEnabled val="1"/>
        </dgm:presLayoutVars>
      </dgm:prSet>
      <dgm:spPr/>
    </dgm:pt>
    <dgm:pt modelId="{B17098AE-EB06-45A2-BA58-548A63594D11}" type="pres">
      <dgm:prSet presAssocID="{99D45B28-68AD-4209-8FCB-8317BD7070A0}" presName="bullet3b" presStyleLbl="node1" presStyleIdx="1" presStyleCnt="3"/>
      <dgm:spPr/>
    </dgm:pt>
    <dgm:pt modelId="{547CDD20-AD5E-46E6-AA5F-B815215A427F}" type="pres">
      <dgm:prSet presAssocID="{99D45B28-68AD-4209-8FCB-8317BD7070A0}" presName="textBox3b" presStyleLbl="revTx" presStyleIdx="1" presStyleCnt="3">
        <dgm:presLayoutVars>
          <dgm:bulletEnabled val="1"/>
        </dgm:presLayoutVars>
      </dgm:prSet>
      <dgm:spPr/>
    </dgm:pt>
    <dgm:pt modelId="{18C88DF3-4517-4A88-82FC-347E3733DC80}" type="pres">
      <dgm:prSet presAssocID="{A87F5B8D-ADB3-42F5-9466-8CEF117B37A8}" presName="bullet3c" presStyleLbl="node1" presStyleIdx="2" presStyleCnt="3"/>
      <dgm:spPr/>
    </dgm:pt>
    <dgm:pt modelId="{27628F05-A4C6-4206-B0FA-5ACC71643EFB}" type="pres">
      <dgm:prSet presAssocID="{A87F5B8D-ADB3-42F5-9466-8CEF117B37A8}" presName="textBox3c" presStyleLbl="revTx" presStyleIdx="2" presStyleCnt="3">
        <dgm:presLayoutVars>
          <dgm:bulletEnabled val="1"/>
        </dgm:presLayoutVars>
      </dgm:prSet>
      <dgm:spPr/>
    </dgm:pt>
  </dgm:ptLst>
  <dgm:cxnLst>
    <dgm:cxn modelId="{C60EDB04-5FCF-4147-B718-84D4C71BF4AC}" srcId="{CA468F02-C816-4B46-8E21-30C4178D6045}" destId="{A87F5B8D-ADB3-42F5-9466-8CEF117B37A8}" srcOrd="2" destOrd="0" parTransId="{3C6A1114-AE33-411A-990B-7FEE67288122}" sibTransId="{57EBBD1B-7BBF-48C4-BC5A-E2297024772F}"/>
    <dgm:cxn modelId="{BD8C1719-7301-421D-B110-89D010547BFA}" srcId="{CA468F02-C816-4B46-8E21-30C4178D6045}" destId="{99D45B28-68AD-4209-8FCB-8317BD7070A0}" srcOrd="1" destOrd="0" parTransId="{B46DFD8D-09AF-4CBF-BCAE-77A405409B15}" sibTransId="{02270AC9-8FEC-44AE-8666-B641F50D7E4B}"/>
    <dgm:cxn modelId="{0BAD3A29-9E46-4DB6-9173-49F38D161ABC}" type="presOf" srcId="{EB233213-E331-4D49-BF64-8AE69C88E285}" destId="{D5DDCADD-F373-448E-B8CD-056667483DE6}" srcOrd="0" destOrd="0" presId="urn:microsoft.com/office/officeart/2005/8/layout/arrow2"/>
    <dgm:cxn modelId="{4115E86E-AC06-4AF2-8E28-42A6AFF51A8E}" type="presOf" srcId="{CA468F02-C816-4B46-8E21-30C4178D6045}" destId="{A549CF6C-E205-45D3-9E72-D7E352492E21}" srcOrd="0" destOrd="0" presId="urn:microsoft.com/office/officeart/2005/8/layout/arrow2"/>
    <dgm:cxn modelId="{DFCDCDC8-2DAA-494E-9F0E-387A8142C756}" type="presOf" srcId="{99D45B28-68AD-4209-8FCB-8317BD7070A0}" destId="{547CDD20-AD5E-46E6-AA5F-B815215A427F}" srcOrd="0" destOrd="0" presId="urn:microsoft.com/office/officeart/2005/8/layout/arrow2"/>
    <dgm:cxn modelId="{3AE688D2-B25B-4C76-BD32-CC212930B9C3}" type="presOf" srcId="{A87F5B8D-ADB3-42F5-9466-8CEF117B37A8}" destId="{27628F05-A4C6-4206-B0FA-5ACC71643EFB}" srcOrd="0" destOrd="0" presId="urn:microsoft.com/office/officeart/2005/8/layout/arrow2"/>
    <dgm:cxn modelId="{981EA3E7-5A8D-4310-8ABA-C1E61689D2CC}" srcId="{CA468F02-C816-4B46-8E21-30C4178D6045}" destId="{EB233213-E331-4D49-BF64-8AE69C88E285}" srcOrd="0" destOrd="0" parTransId="{24F7AB02-B545-46CF-8FB0-50C9751CDB83}" sibTransId="{5FF598AA-0D4F-4891-9CA7-1A72E0C265F4}"/>
    <dgm:cxn modelId="{CA2A5EC9-B4DC-4727-A385-48FECEC0F12C}" type="presParOf" srcId="{A549CF6C-E205-45D3-9E72-D7E352492E21}" destId="{B09633E1-BB4D-478A-8A1D-1E9153E5A0F2}" srcOrd="0" destOrd="0" presId="urn:microsoft.com/office/officeart/2005/8/layout/arrow2"/>
    <dgm:cxn modelId="{81EF9407-C6EA-4C35-81DD-BFC4F17F6A12}" type="presParOf" srcId="{A549CF6C-E205-45D3-9E72-D7E352492E21}" destId="{1921D71B-6518-4592-884F-CDBBE1D6869B}" srcOrd="1" destOrd="0" presId="urn:microsoft.com/office/officeart/2005/8/layout/arrow2"/>
    <dgm:cxn modelId="{8068233C-2C30-4C32-A41F-D93D9D96B618}" type="presParOf" srcId="{1921D71B-6518-4592-884F-CDBBE1D6869B}" destId="{51F0429C-1275-4B1B-8CCF-D82ED5FEA582}" srcOrd="0" destOrd="0" presId="urn:microsoft.com/office/officeart/2005/8/layout/arrow2"/>
    <dgm:cxn modelId="{A19DD62B-5C3D-4AE4-A24F-A67E43B8E012}" type="presParOf" srcId="{1921D71B-6518-4592-884F-CDBBE1D6869B}" destId="{D5DDCADD-F373-448E-B8CD-056667483DE6}" srcOrd="1" destOrd="0" presId="urn:microsoft.com/office/officeart/2005/8/layout/arrow2"/>
    <dgm:cxn modelId="{EC3C5B35-804C-4202-AE61-9A8A5F9DA079}" type="presParOf" srcId="{1921D71B-6518-4592-884F-CDBBE1D6869B}" destId="{B17098AE-EB06-45A2-BA58-548A63594D11}" srcOrd="2" destOrd="0" presId="urn:microsoft.com/office/officeart/2005/8/layout/arrow2"/>
    <dgm:cxn modelId="{4262321C-E0CF-4013-9924-FF9FA5A99C30}" type="presParOf" srcId="{1921D71B-6518-4592-884F-CDBBE1D6869B}" destId="{547CDD20-AD5E-46E6-AA5F-B815215A427F}" srcOrd="3" destOrd="0" presId="urn:microsoft.com/office/officeart/2005/8/layout/arrow2"/>
    <dgm:cxn modelId="{FEEB3EBC-F111-4542-AC03-3098BCC9373B}" type="presParOf" srcId="{1921D71B-6518-4592-884F-CDBBE1D6869B}" destId="{18C88DF3-4517-4A88-82FC-347E3733DC80}" srcOrd="4" destOrd="0" presId="urn:microsoft.com/office/officeart/2005/8/layout/arrow2"/>
    <dgm:cxn modelId="{CF27CBA3-CAA1-4965-88A9-D528CAB198AC}" type="presParOf" srcId="{1921D71B-6518-4592-884F-CDBBE1D6869B}" destId="{27628F05-A4C6-4206-B0FA-5ACC71643EFB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7C6206-0C41-48A7-9F9E-398C1B1B5CF1}">
      <dsp:nvSpPr>
        <dsp:cNvPr id="0" name=""/>
        <dsp:cNvSpPr/>
      </dsp:nvSpPr>
      <dsp:spPr>
        <a:xfrm>
          <a:off x="636349" y="0"/>
          <a:ext cx="4428064" cy="276754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DB3861-AFEA-49A0-9995-F6C78A7AA388}">
      <dsp:nvSpPr>
        <dsp:cNvPr id="0" name=""/>
        <dsp:cNvSpPr/>
      </dsp:nvSpPr>
      <dsp:spPr>
        <a:xfrm>
          <a:off x="1665874" y="1508309"/>
          <a:ext cx="154982" cy="15498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415A08-3B88-4D37-A544-CFB1D77E0720}">
      <dsp:nvSpPr>
        <dsp:cNvPr id="0" name=""/>
        <dsp:cNvSpPr/>
      </dsp:nvSpPr>
      <dsp:spPr>
        <a:xfrm>
          <a:off x="1743365" y="1585800"/>
          <a:ext cx="1439120" cy="11817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122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2020</a:t>
          </a:r>
          <a:r>
            <a:rPr lang="zh-TW" sz="1700" kern="1200" dirty="0"/>
            <a:t>年</a:t>
          </a:r>
          <a:endParaRPr lang="en-US" altLang="zh-TW" sz="170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sz="1700" kern="1200" dirty="0"/>
            <a:t>全球營運已達成碳中和</a:t>
          </a:r>
          <a:endParaRPr lang="zh-TW" altLang="en-US" sz="1700" kern="1200" dirty="0"/>
        </a:p>
      </dsp:txBody>
      <dsp:txXfrm>
        <a:off x="1743365" y="1585800"/>
        <a:ext cx="1439120" cy="1181739"/>
      </dsp:txXfrm>
    </dsp:sp>
    <dsp:sp modelId="{8B7BC0E0-5F3F-4C27-95DB-0FAA3C0264B9}">
      <dsp:nvSpPr>
        <dsp:cNvPr id="0" name=""/>
        <dsp:cNvSpPr/>
      </dsp:nvSpPr>
      <dsp:spPr>
        <a:xfrm>
          <a:off x="3093925" y="802586"/>
          <a:ext cx="265683" cy="265683"/>
        </a:xfrm>
        <a:prstGeom prst="ellipse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1FBA80-32B9-4942-8465-0E2E0B0A918F}">
      <dsp:nvSpPr>
        <dsp:cNvPr id="0" name=""/>
        <dsp:cNvSpPr/>
      </dsp:nvSpPr>
      <dsp:spPr>
        <a:xfrm>
          <a:off x="3180161" y="935428"/>
          <a:ext cx="1632783" cy="18321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780" tIns="0" rIns="0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2030</a:t>
          </a:r>
          <a:r>
            <a:rPr lang="zh-TW" sz="1700" kern="1200" dirty="0"/>
            <a:t>年前</a:t>
          </a:r>
          <a:endParaRPr lang="en-US" altLang="zh-TW" sz="1700" kern="1200" dirty="0"/>
        </a:p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sz="1700" kern="1200" dirty="0"/>
            <a:t>較</a:t>
          </a:r>
          <a:r>
            <a:rPr lang="en-US" sz="1700" kern="1200" dirty="0"/>
            <a:t>2015</a:t>
          </a:r>
          <a:r>
            <a:rPr lang="zh-TW" sz="1700" kern="1200" dirty="0"/>
            <a:t>年碳排放減少</a:t>
          </a:r>
          <a:r>
            <a:rPr lang="en-US" sz="1700" kern="1200" dirty="0"/>
            <a:t> 75%</a:t>
          </a:r>
          <a:endParaRPr lang="zh-TW" altLang="en-US" sz="1700" kern="1200" dirty="0"/>
        </a:p>
      </dsp:txBody>
      <dsp:txXfrm>
        <a:off x="3180161" y="935428"/>
        <a:ext cx="1632783" cy="183211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9633E1-BB4D-478A-8A1D-1E9153E5A0F2}">
      <dsp:nvSpPr>
        <dsp:cNvPr id="0" name=""/>
        <dsp:cNvSpPr/>
      </dsp:nvSpPr>
      <dsp:spPr>
        <a:xfrm>
          <a:off x="0" y="378878"/>
          <a:ext cx="5059202" cy="3162001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F0429C-1275-4B1B-8CCF-D82ED5FEA582}">
      <dsp:nvSpPr>
        <dsp:cNvPr id="0" name=""/>
        <dsp:cNvSpPr/>
      </dsp:nvSpPr>
      <dsp:spPr>
        <a:xfrm>
          <a:off x="642518" y="2561291"/>
          <a:ext cx="131539" cy="13153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DDCADD-F373-448E-B8CD-056667483DE6}">
      <dsp:nvSpPr>
        <dsp:cNvPr id="0" name=""/>
        <dsp:cNvSpPr/>
      </dsp:nvSpPr>
      <dsp:spPr>
        <a:xfrm>
          <a:off x="708288" y="2627061"/>
          <a:ext cx="1178794" cy="9138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70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1400" kern="1200" dirty="0"/>
            <a:t>2025</a:t>
          </a:r>
          <a:r>
            <a:rPr lang="zh-TW" altLang="en-US" sz="1400" kern="1200" dirty="0"/>
            <a:t>年</a:t>
          </a:r>
          <a:endParaRPr lang="en-US" altLang="zh-TW" sz="1400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/>
            <a:t>較</a:t>
          </a:r>
          <a:r>
            <a:rPr lang="en-US" altLang="zh-TW" sz="1400" kern="1200" dirty="0"/>
            <a:t>2018</a:t>
          </a:r>
          <a:r>
            <a:rPr lang="zh-TW" altLang="en-US" sz="1400" kern="1200" dirty="0"/>
            <a:t>年減排</a:t>
          </a:r>
          <a:r>
            <a:rPr lang="en-US" altLang="zh-TW" sz="1400" kern="1200" dirty="0">
              <a:solidFill>
                <a:srgbClr val="FF0000"/>
              </a:solidFill>
            </a:rPr>
            <a:t>20%</a:t>
          </a:r>
          <a:endParaRPr lang="zh-TW" altLang="en-US" sz="1400" kern="1200" dirty="0">
            <a:solidFill>
              <a:srgbClr val="FF0000"/>
            </a:solidFill>
          </a:endParaRPr>
        </a:p>
      </dsp:txBody>
      <dsp:txXfrm>
        <a:off x="708288" y="2627061"/>
        <a:ext cx="1178794" cy="913818"/>
      </dsp:txXfrm>
    </dsp:sp>
    <dsp:sp modelId="{B17098AE-EB06-45A2-BA58-548A63594D11}">
      <dsp:nvSpPr>
        <dsp:cNvPr id="0" name=""/>
        <dsp:cNvSpPr/>
      </dsp:nvSpPr>
      <dsp:spPr>
        <a:xfrm>
          <a:off x="1803605" y="1701859"/>
          <a:ext cx="237782" cy="237782"/>
        </a:xfrm>
        <a:prstGeom prst="ellipse">
          <a:avLst/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7CDD20-AD5E-46E6-AA5F-B815215A427F}">
      <dsp:nvSpPr>
        <dsp:cNvPr id="0" name=""/>
        <dsp:cNvSpPr/>
      </dsp:nvSpPr>
      <dsp:spPr>
        <a:xfrm>
          <a:off x="1922496" y="1820750"/>
          <a:ext cx="1214208" cy="1720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996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1400" kern="1200" dirty="0"/>
            <a:t>2030</a:t>
          </a:r>
          <a:r>
            <a:rPr lang="zh-TW" altLang="en-US" sz="1400" kern="1200" dirty="0"/>
            <a:t>年</a:t>
          </a:r>
          <a:endParaRPr lang="en-US" altLang="zh-TW" sz="1400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/>
            <a:t>較</a:t>
          </a:r>
          <a:r>
            <a:rPr lang="en-US" altLang="zh-TW" sz="1400" kern="1200" dirty="0"/>
            <a:t>2018</a:t>
          </a:r>
          <a:r>
            <a:rPr lang="zh-TW" altLang="en-US" sz="1400" kern="1200" dirty="0"/>
            <a:t>年減排</a:t>
          </a:r>
          <a:r>
            <a:rPr lang="en-US" altLang="zh-TW" sz="1400" kern="1200" dirty="0">
              <a:solidFill>
                <a:srgbClr val="FF0000"/>
              </a:solidFill>
            </a:rPr>
            <a:t>50%</a:t>
          </a:r>
          <a:endParaRPr lang="zh-TW" altLang="en-US" sz="1400" kern="1200" dirty="0">
            <a:solidFill>
              <a:srgbClr val="FF0000"/>
            </a:solidFill>
          </a:endParaRPr>
        </a:p>
      </dsp:txBody>
      <dsp:txXfrm>
        <a:off x="1922496" y="1820750"/>
        <a:ext cx="1214208" cy="1720128"/>
      </dsp:txXfrm>
    </dsp:sp>
    <dsp:sp modelId="{18C88DF3-4517-4A88-82FC-347E3733DC80}">
      <dsp:nvSpPr>
        <dsp:cNvPr id="0" name=""/>
        <dsp:cNvSpPr/>
      </dsp:nvSpPr>
      <dsp:spPr>
        <a:xfrm>
          <a:off x="3199945" y="1178864"/>
          <a:ext cx="328848" cy="328848"/>
        </a:xfrm>
        <a:prstGeom prst="ellipse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628F05-A4C6-4206-B0FA-5ACC71643EFB}">
      <dsp:nvSpPr>
        <dsp:cNvPr id="0" name=""/>
        <dsp:cNvSpPr/>
      </dsp:nvSpPr>
      <dsp:spPr>
        <a:xfrm>
          <a:off x="3364369" y="1343288"/>
          <a:ext cx="1214208" cy="21975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425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1400" kern="1200" dirty="0"/>
            <a:t>2050</a:t>
          </a:r>
          <a:r>
            <a:rPr lang="zh-TW" altLang="en-US" sz="1400" kern="1200" dirty="0"/>
            <a:t>年</a:t>
          </a:r>
          <a:endParaRPr lang="en-US" altLang="zh-TW" sz="1400" kern="1200" dirty="0"/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/>
            <a:t>達到</a:t>
          </a:r>
          <a:r>
            <a:rPr lang="zh-TW" altLang="en-US" sz="1400" kern="1200" dirty="0">
              <a:solidFill>
                <a:srgbClr val="FF0000"/>
              </a:solidFill>
            </a:rPr>
            <a:t>零碳</a:t>
          </a:r>
          <a:r>
            <a:rPr lang="zh-TW" altLang="en-US" sz="1400" kern="1200" dirty="0"/>
            <a:t>排</a:t>
          </a:r>
        </a:p>
      </dsp:txBody>
      <dsp:txXfrm>
        <a:off x="3364369" y="1343288"/>
        <a:ext cx="1214208" cy="21975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45112C-BD58-3146-86F6-E140FD855B9C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03239C-2588-F747-A79D-668A664FE3BC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296847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pple.com/newsroom/pdfs/Apple_Supplier_Clean_Energy_Program_Update_2022.pdf" TargetMode="External"/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apple.com/newsroom/2021/10/apple-charges-forward-to-2030-carbon-neutral-goal-adding-9-gigawatts-of-clean-power-and-doubling-supplier-commitments/" TargetMode="Externa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3239C-2588-F747-A79D-668A664FE3BC}" type="slidenum">
              <a:rPr kumimoji="1" lang="zh-TW" altLang="en-US" smtClean="0"/>
              <a:t>1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1122051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歐盟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E6B38B-C7D6-4F0C-A636-031B1E64085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1161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TW" altLang="en-US" dirty="0"/>
              <a:t>永續的經濟活動主要有三大類別，包括本身已經是低碳的經濟活動、還有轉型地碳的經濟活動、還有支持低碳經濟活動。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E6B38B-C7D6-4F0C-A636-031B1E64085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05617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六大環境目的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E6B38B-C7D6-4F0C-A636-031B1E64085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11080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b="1" dirty="0">
                <a:solidFill>
                  <a:schemeClr val="tx1">
                    <a:lumMod val="75000"/>
                  </a:schemeClr>
                </a:solidFill>
              </a:rPr>
              <a:t>例如：汙染會對於生物多樣性和水資源等環境目的之狀態造成壓力，循環經濟則是協助減輕各個環境目的達到其理想狀態之手段</a:t>
            </a:r>
            <a:endParaRPr lang="zh-TW" altLang="en-US" b="1" dirty="0"/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9E9FB9-4D1E-4A88-8F87-B34AFE16905A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00894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89" name="投影片圖像版面配置區 1">
            <a:extLst>
              <a:ext uri="{FF2B5EF4-FFF2-40B4-BE49-F238E27FC236}">
                <a16:creationId xmlns:a16="http://schemas.microsoft.com/office/drawing/2014/main" id="{8D3E32CA-1261-4EEF-B7DB-4F5FFD077C8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5890" name="備忘稿版面配置區 2">
            <a:extLst>
              <a:ext uri="{FF2B5EF4-FFF2-40B4-BE49-F238E27FC236}">
                <a16:creationId xmlns:a16="http://schemas.microsoft.com/office/drawing/2014/main" id="{5C498726-AD93-4A4C-BA29-77D5DDBE60E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zh-TW"/>
          </a:p>
          <a:p>
            <a:pPr>
              <a:spcBef>
                <a:spcPct val="0"/>
              </a:spcBef>
            </a:pPr>
            <a:endParaRPr lang="en-US" altLang="zh-TW"/>
          </a:p>
        </p:txBody>
      </p:sp>
      <p:sp>
        <p:nvSpPr>
          <p:cNvPr id="165891" name="投影片編號版面配置區 3">
            <a:extLst>
              <a:ext uri="{FF2B5EF4-FFF2-40B4-BE49-F238E27FC236}">
                <a16:creationId xmlns:a16="http://schemas.microsoft.com/office/drawing/2014/main" id="{1B83FAAB-7273-4DA2-AEC0-21D377F1F15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94D2E57-459C-4941-9879-6A753E858906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23637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7" name="投影片影像版面配置區 1">
            <a:extLst>
              <a:ext uri="{FF2B5EF4-FFF2-40B4-BE49-F238E27FC236}">
                <a16:creationId xmlns:a16="http://schemas.microsoft.com/office/drawing/2014/main" id="{6B758FD6-7FE1-45A9-9A79-8DDD2FBA5FB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7938" name="備忘稿版面配置區 2">
            <a:extLst>
              <a:ext uri="{FF2B5EF4-FFF2-40B4-BE49-F238E27FC236}">
                <a16:creationId xmlns:a16="http://schemas.microsoft.com/office/drawing/2014/main" id="{321C5C79-797F-47CB-8509-6940167F25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zh-TW" altLang="en-US"/>
              <a:t>範疇一（直接溫室氣體排放）：來自於製程或設施之直接排放，如工廠煙囪、製程、通風設備及組織擁有或控制的固定燃燒源、製程排放、交通工具的排放及逸散排放源</a:t>
            </a:r>
          </a:p>
          <a:p>
            <a:pPr>
              <a:spcBef>
                <a:spcPct val="0"/>
              </a:spcBef>
            </a:pPr>
            <a:r>
              <a:rPr lang="zh-TW" altLang="en-US"/>
              <a:t>範疇二（能源間接排放）：來自於外購電力、熱或蒸汽之能源利用間接排放</a:t>
            </a:r>
          </a:p>
          <a:p>
            <a:pPr>
              <a:spcBef>
                <a:spcPct val="0"/>
              </a:spcBef>
            </a:pPr>
            <a:r>
              <a:rPr lang="zh-TW" altLang="en-US"/>
              <a:t>範疇三（其他間接排放）：非屬自有或可支配控制之排放源產生之排放，如因租賃、委外業務、員工通勤等造成之其他間接排放</a:t>
            </a:r>
          </a:p>
        </p:txBody>
      </p:sp>
      <p:sp>
        <p:nvSpPr>
          <p:cNvPr id="167939" name="投影片編號版面配置區 3">
            <a:extLst>
              <a:ext uri="{FF2B5EF4-FFF2-40B4-BE49-F238E27FC236}">
                <a16:creationId xmlns:a16="http://schemas.microsoft.com/office/drawing/2014/main" id="{AA9FA2CF-81FF-42ED-9FA1-46355BE95F1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EEE668-8F0B-48D4-9E85-082D166987CC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Arial"/>
                <a:sym typeface="Arial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5641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Google Shape;950;p35:notes">
            <a:extLst>
              <a:ext uri="{FF2B5EF4-FFF2-40B4-BE49-F238E27FC236}">
                <a16:creationId xmlns:a16="http://schemas.microsoft.com/office/drawing/2014/main" id="{DF6904B7-3252-4B87-87DE-6324744CD4E6}"/>
              </a:ext>
            </a:extLst>
          </p:cNvPr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custGeom>
            <a:avLst/>
            <a:gdLst>
              <a:gd name="T0" fmla="*/ 0 w 120000"/>
              <a:gd name="T1" fmla="*/ 0 h 120000"/>
              <a:gd name="T2" fmla="*/ 120000 w 120000"/>
              <a:gd name="T3" fmla="*/ 0 h 120000"/>
              <a:gd name="T4" fmla="*/ 120000 w 120000"/>
              <a:gd name="T5" fmla="*/ 120000 h 120000"/>
              <a:gd name="T6" fmla="*/ 0 w 120000"/>
              <a:gd name="T7" fmla="*/ 120000 h 120000"/>
              <a:gd name="T8" fmla="*/ 0 w 120000"/>
              <a:gd name="T9" fmla="*/ 0 h 12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62" name="Google Shape;951;p35:notes">
            <a:extLst>
              <a:ext uri="{FF2B5EF4-FFF2-40B4-BE49-F238E27FC236}">
                <a16:creationId xmlns:a16="http://schemas.microsoft.com/office/drawing/2014/main" id="{B30C0A5F-35D7-4E8F-82B3-C85CA7D239B7}"/>
              </a:ext>
            </a:extLst>
          </p:cNvPr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79450" y="4714875"/>
            <a:ext cx="5438775" cy="44672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zh-TW" dirty="0"/>
              <a:t>2021</a:t>
            </a:r>
            <a:r>
              <a:rPr lang="zh-TW" altLang="en-US" dirty="0"/>
              <a:t>年</a:t>
            </a:r>
            <a:r>
              <a:rPr lang="en-US" altLang="zh-TW" dirty="0"/>
              <a:t>ESG</a:t>
            </a:r>
            <a:r>
              <a:rPr lang="zh-TW" altLang="en-US" dirty="0"/>
              <a:t>大爆發</a:t>
            </a:r>
            <a:endParaRPr lang="zh-TW" altLang="zh-TW" dirty="0"/>
          </a:p>
        </p:txBody>
      </p:sp>
      <p:sp>
        <p:nvSpPr>
          <p:cNvPr id="92163" name="Google Shape;952;p35:notes">
            <a:extLst>
              <a:ext uri="{FF2B5EF4-FFF2-40B4-BE49-F238E27FC236}">
                <a16:creationId xmlns:a16="http://schemas.microsoft.com/office/drawing/2014/main" id="{E56D7147-288E-428F-AD57-897451065EB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E0DBD68-BF1B-422D-8491-55064726068B}" type="slidenum">
              <a:rPr lang="en-US" altLang="zh-TW">
                <a:latin typeface="Calibri" panose="020F0502020204030204" pitchFamily="34" charset="0"/>
                <a:ea typeface="新細明體" panose="02020500000000000000" pitchFamily="18" charset="-12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zh-TW" altLang="zh-TW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9967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CC050B-E80A-480A-A958-645FB98C3087}" type="slidenum">
              <a:rPr lang="zh-TW" altLang="en-US" smtClean="0"/>
              <a:pPr/>
              <a:t>37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1721360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改順序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76B134-697D-4044-AED4-75F85DAB4C4D}" type="slidenum">
              <a:rPr lang="zh-TW" altLang="en-US" smtClean="0"/>
              <a:t>3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304468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2BD074-6B3C-49C5-971A-604B9C1E19F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35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Google Shape;725;p2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6" name="Google Shape;72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備忘稿版面配置區 1">
            <a:extLst>
              <a:ext uri="{FF2B5EF4-FFF2-40B4-BE49-F238E27FC236}">
                <a16:creationId xmlns:a16="http://schemas.microsoft.com/office/drawing/2014/main" id="{F87B0F0C-7690-4653-A962-B1965A0760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kumimoji="1" lang="zh-TW" altLang="en-US"/>
              <a:t>主要的概念是</a:t>
            </a:r>
          </a:p>
        </p:txBody>
      </p:sp>
    </p:spTree>
    <p:extLst>
      <p:ext uri="{BB962C8B-B14F-4D97-AF65-F5344CB8AC3E}">
        <p14:creationId xmlns:p14="http://schemas.microsoft.com/office/powerpoint/2010/main" val="37509171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2BD074-6B3C-49C5-971A-604B9C1E19F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2070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76B134-697D-4044-AED4-75F85DAB4C4D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668728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76B134-697D-4044-AED4-75F85DAB4C4D}" type="slidenum">
              <a:rPr lang="zh-TW" altLang="en-US" smtClean="0"/>
              <a:t>4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087515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76B134-697D-4044-AED4-75F85DAB4C4D}" type="slidenum">
              <a:rPr lang="zh-TW" altLang="en-US" smtClean="0"/>
              <a:t>4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0819042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lnSpc>
                <a:spcPts val="1600"/>
              </a:lnSpc>
              <a:spcAft>
                <a:spcPts val="1000"/>
              </a:spcAft>
              <a:buFont typeface="Wingdings" panose="05000000000000000000" pitchFamily="2" charset="2"/>
              <a:buNone/>
              <a:tabLst>
                <a:tab pos="228600" algn="l"/>
                <a:tab pos="304800" algn="l"/>
              </a:tabLst>
            </a:pPr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「負責任的物料閉環採購方法」僅使用回收與再生原物料來製造產品</a:t>
            </a:r>
            <a:endParaRPr lang="en-US" altLang="zh-TW" sz="1800" dirty="0">
              <a:effectLst/>
              <a:latin typeface="Times New Roman" panose="02020603050405020304" pitchFamily="18" charset="0"/>
              <a:ea typeface="PMingLiU" panose="02020500000000000000" pitchFamily="18" charset="-120"/>
              <a:cs typeface="Times New Roman" panose="02020603050405020304" pitchFamily="18" charset="0"/>
            </a:endParaRPr>
          </a:p>
          <a:p>
            <a:pPr marL="285750" lvl="0" indent="-285750" algn="just">
              <a:lnSpc>
                <a:spcPts val="1600"/>
              </a:lnSpc>
              <a:spcAft>
                <a:spcPts val="1000"/>
              </a:spcAft>
              <a:buFont typeface="Wingdings" panose="05000000000000000000" pitchFamily="2" charset="2"/>
              <a:buChar char="ü"/>
              <a:tabLst>
                <a:tab pos="228600" algn="l"/>
                <a:tab pos="304800" algn="l"/>
              </a:tabLst>
            </a:pP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採購可回收再生物料及包裝材料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PMingLiU" panose="02020500000000000000" pitchFamily="18" charset="-120"/>
                <a:ea typeface="Times New Roman" panose="02020603050405020304" pitchFamily="18" charset="0"/>
                <a:cs typeface="PMingLiU" panose="02020500000000000000" pitchFamily="18" charset="-120"/>
              </a:rPr>
              <a:t> </a:t>
            </a:r>
            <a:endParaRPr lang="zh-TW" altLang="zh-TW" sz="1800" dirty="0">
              <a:solidFill>
                <a:srgbClr val="000000"/>
              </a:solidFill>
              <a:effectLst/>
              <a:latin typeface="PMingLiU" panose="02020500000000000000" pitchFamily="18" charset="-12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342900" lvl="0" indent="-342900" algn="just">
              <a:lnSpc>
                <a:spcPts val="1600"/>
              </a:lnSpc>
              <a:spcAft>
                <a:spcPts val="1000"/>
              </a:spcAft>
              <a:buFont typeface="Wingdings" panose="05000000000000000000" pitchFamily="2" charset="2"/>
              <a:buChar char=""/>
              <a:tabLst>
                <a:tab pos="228600" algn="l"/>
                <a:tab pos="304800" algn="l"/>
              </a:tabLst>
            </a:pP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增加產品使用週期</a:t>
            </a:r>
            <a:endParaRPr lang="zh-TW" altLang="zh-TW" sz="1800" dirty="0">
              <a:solidFill>
                <a:srgbClr val="000000"/>
              </a:solidFill>
              <a:effectLst/>
              <a:latin typeface="PMingLiU" panose="02020500000000000000" pitchFamily="18" charset="-12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pPr marL="342900" lvl="0" indent="-342900" algn="just">
              <a:lnSpc>
                <a:spcPts val="1600"/>
              </a:lnSpc>
              <a:spcAft>
                <a:spcPts val="1000"/>
              </a:spcAft>
              <a:buFont typeface="Wingdings" panose="05000000000000000000" pitchFamily="2" charset="2"/>
              <a:buChar char=""/>
              <a:tabLst>
                <a:tab pos="228600" algn="l"/>
                <a:tab pos="304800" algn="l"/>
              </a:tabLst>
            </a:pP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報廢產品可成為未來裝置的用料等</a:t>
            </a:r>
            <a:endParaRPr lang="zh-TW" altLang="zh-TW" sz="1800" dirty="0">
              <a:solidFill>
                <a:srgbClr val="000000"/>
              </a:solidFill>
              <a:effectLst/>
              <a:latin typeface="PMingLiU" panose="02020500000000000000" pitchFamily="18" charset="-120"/>
              <a:ea typeface="PMingLiU" panose="02020500000000000000" pitchFamily="18" charset="-120"/>
              <a:cs typeface="PMingLiU" panose="02020500000000000000" pitchFamily="18" charset="-120"/>
            </a:endParaRPr>
          </a:p>
          <a:p>
            <a:endParaRPr lang="en-US" altLang="zh-TW" dirty="0"/>
          </a:p>
          <a:p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《</a:t>
            </a:r>
            <a:r>
              <a:rPr lang="en-US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</a:rPr>
              <a:t>Apple </a:t>
            </a:r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回收廠指南》，提供相關資訊給專業的電子產品回收業者，以使業者既能以安全的方式拆卸</a:t>
            </a:r>
            <a:r>
              <a:rPr lang="en-US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</a:rPr>
              <a:t> Apple </a:t>
            </a:r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產品，也能將資源回收極大化。</a:t>
            </a:r>
            <a:endParaRPr lang="en-US" altLang="zh-TW" sz="1800" dirty="0">
              <a:effectLst/>
              <a:latin typeface="Times New Roman" panose="02020603050405020304" pitchFamily="18" charset="0"/>
              <a:ea typeface="PMingLiU" panose="02020500000000000000" pitchFamily="18" charset="-120"/>
              <a:cs typeface="Times New Roman" panose="02020603050405020304" pitchFamily="18" charset="0"/>
            </a:endParaRPr>
          </a:p>
          <a:p>
            <a:endParaRPr lang="en-US" altLang="zh-TW" sz="1800" dirty="0">
              <a:effectLst/>
              <a:latin typeface="Times New Roman" panose="02020603050405020304" pitchFamily="18" charset="0"/>
              <a:ea typeface="PMingLiU" panose="02020500000000000000" pitchFamily="18" charset="-120"/>
              <a:cs typeface="Times New Roman" panose="02020603050405020304" pitchFamily="18" charset="0"/>
            </a:endParaRPr>
          </a:p>
          <a:p>
            <a:r>
              <a:rPr lang="en-US" altLang="zh-TW" sz="1800" dirty="0">
                <a:effectLst/>
                <a:latin typeface="Cambria Math" panose="02040503050406030204" pitchFamily="18" charset="0"/>
                <a:ea typeface="PMingLiU" panose="02020500000000000000" pitchFamily="18" charset="-120"/>
                <a:cs typeface="Cambria Math" panose="02040503050406030204" pitchFamily="18" charset="0"/>
              </a:rPr>
              <a:t>⟪</a:t>
            </a:r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準則</a:t>
            </a:r>
            <a:r>
              <a:rPr lang="en-US" altLang="zh-TW" sz="1800" dirty="0">
                <a:effectLst/>
                <a:latin typeface="Cambria Math" panose="02040503050406030204" pitchFamily="18" charset="0"/>
                <a:ea typeface="PMingLiU" panose="02020500000000000000" pitchFamily="18" charset="-120"/>
                <a:cs typeface="Cambria Math" panose="02040503050406030204" pitchFamily="18" charset="0"/>
              </a:rPr>
              <a:t>⟫</a:t>
            </a:r>
            <a:r>
              <a:rPr lang="zh-TW" altLang="en-US" sz="1800" dirty="0">
                <a:effectLst/>
                <a:latin typeface="Cambria Math" panose="02040503050406030204" pitchFamily="18" charset="0"/>
                <a:ea typeface="PMingLiU" panose="02020500000000000000" pitchFamily="18" charset="-120"/>
                <a:cs typeface="Cambria Math" panose="02040503050406030204" pitchFamily="18" charset="0"/>
              </a:rPr>
              <a:t>，</a:t>
            </a:r>
            <a:r>
              <a:rPr lang="zh-TW" altLang="zh-TW" sz="1800" dirty="0">
                <a:effectLst/>
                <a:latin typeface="Times New Roman" panose="02020603050405020304" pitchFamily="18" charset="0"/>
                <a:ea typeface="PMingLiU" panose="02020500000000000000" pitchFamily="18" charset="-120"/>
                <a:cs typeface="Times New Roman" panose="02020603050405020304" pitchFamily="18" charset="0"/>
              </a:rPr>
              <a:t>規範供應商本身也應透過保存、重複使用、回收、替代或其他措施，減少其本身所消耗的化石燃料、水、有害物質和天然資源。</a:t>
            </a:r>
            <a:endParaRPr lang="en-US" altLang="zh-TW" sz="1800" dirty="0">
              <a:effectLst/>
              <a:latin typeface="Times New Roman" panose="02020603050405020304" pitchFamily="18" charset="0"/>
              <a:ea typeface="PMingLiU" panose="02020500000000000000" pitchFamily="18" charset="-120"/>
              <a:cs typeface="Times New Roman" panose="02020603050405020304" pitchFamily="18" charset="0"/>
            </a:endParaRP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2A68D8-3E55-49E7-A5D2-26CF69AE4268}" type="slidenum">
              <a:rPr lang="zh-TW" altLang="en-US" smtClean="0">
                <a:solidFill>
                  <a:prstClr val="black"/>
                </a:solidFill>
              </a:rPr>
              <a:pPr/>
              <a:t>50</a:t>
            </a:fld>
            <a:endParaRPr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8131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4800" indent="304800" algn="just">
              <a:lnSpc>
                <a:spcPts val="1600"/>
              </a:lnSpc>
              <a:spcAft>
                <a:spcPts val="1000"/>
              </a:spcAft>
            </a:pP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為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RE100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能源倡議</a:t>
            </a:r>
            <a:r>
              <a:rPr lang="zh-TW" altLang="zh-TW" sz="1800" dirty="0">
                <a:solidFill>
                  <a:srgbClr val="000000"/>
                </a:solidFill>
                <a:effectLst/>
                <a:highlight>
                  <a:srgbClr val="D3D3D3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組織成員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，</a:t>
            </a:r>
            <a:r>
              <a:rPr lang="zh-TW" altLang="zh-TW" sz="1800" dirty="0">
                <a:solidFill>
                  <a:srgbClr val="000000"/>
                </a:solidFill>
                <a:effectLst/>
                <a:highlight>
                  <a:srgbClr val="D3D3D3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並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持續與其全球供應鏈合作，以其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2015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推出的「清潔能源計畫」，加速並支持供應商全面轉用清潔能源，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雖然並未指定參與該計畫的供應商應選擇使用何種清潔能源，但鼓勵供應商應建立自己的再生能源採購或發展策略。如果供應商無法設置再生能源案場，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則希望供應商與新的再生能源案場簽署電力購買合約。截至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2022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年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4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月，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的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 213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個主要製造合作夥伴已承諾在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 25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個國家使用可再生電力推動所有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 Apple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生產工作。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也在世界各地直接投資可再生能源計畫，包括中國和日本近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 500 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兆瓦的太陽能和其他可再生能源項目，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Apple </a:t>
            </a:r>
            <a:r>
              <a:rPr lang="zh-TW" altLang="zh-TW" sz="1800" dirty="0">
                <a:solidFill>
                  <a:srgbClr val="000000"/>
                </a:solidFill>
                <a:effectLst/>
                <a:highlight>
                  <a:srgbClr val="D3D3D3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也和台灣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當地夥伴合作建設屋頂太陽光電，以供應直營門市或辦公室的部分用電，並透過簽訂長期合約擁有這些再生能源憑證，利用台灣再生能源憑證</a:t>
            </a:r>
            <a:r>
              <a:rPr lang="en-US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新細明體" panose="02020500000000000000" pitchFamily="18" charset="-120"/>
              </a:rPr>
              <a:t>(T-REC)</a:t>
            </a:r>
            <a:r>
              <a:rPr lang="zh-TW" altLang="zh-TW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的追蹤系統來驗證所購買的再生能源，作為上游減排計劃的一部分</a:t>
            </a:r>
            <a:endParaRPr lang="zh-TW" altLang="zh-TW" sz="1800" dirty="0">
              <a:solidFill>
                <a:srgbClr val="000000"/>
              </a:solidFill>
              <a:effectLst/>
              <a:latin typeface="微軟正黑體" panose="020B0604030504040204" pitchFamily="34" charset="-120"/>
              <a:cs typeface="新細明體" panose="02020500000000000000" pitchFamily="18" charset="-120"/>
            </a:endParaRPr>
          </a:p>
          <a:p>
            <a:pPr>
              <a:lnSpc>
                <a:spcPts val="1600"/>
              </a:lnSpc>
              <a:spcAft>
                <a:spcPts val="1000"/>
              </a:spcAft>
            </a:pPr>
            <a:r>
              <a:rPr lang="en-US" altLang="zh-TW" sz="1800" u="sng" kern="100" dirty="0">
                <a:solidFill>
                  <a:srgbClr val="0563C1"/>
                </a:solidFill>
                <a:effectLst/>
                <a:latin typeface="楷體-繁" panose="02010600040101010101" pitchFamily="2" charset="-120"/>
                <a:cs typeface="Times New Roman" panose="02020603050405020304" pitchFamily="18" charset="0"/>
                <a:hlinkClick r:id="rId3"/>
              </a:rPr>
              <a:t>https://www.apple.com/newsroom/pdfs/Apple_Supplier_Clean_Energy_Program_Update_2022.pdf</a:t>
            </a:r>
            <a:endParaRPr lang="zh-TW" altLang="zh-TW" sz="1800" kern="1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200"/>
              </a:lnSpc>
              <a:spcAft>
                <a:spcPts val="1000"/>
              </a:spcAft>
            </a:pPr>
            <a:r>
              <a:rPr lang="en-US" altLang="zh-TW" sz="1800" kern="100" dirty="0">
                <a:effectLst/>
                <a:latin typeface="楷體-繁" panose="02010600040101010101" pitchFamily="2" charset="-120"/>
                <a:cs typeface="Times New Roman" panose="02020603050405020304" pitchFamily="18" charset="0"/>
              </a:rPr>
              <a:t>Apple, </a:t>
            </a:r>
            <a:r>
              <a:rPr lang="en-US" altLang="zh-TW" sz="1800" u="sng" kern="100" dirty="0">
                <a:solidFill>
                  <a:srgbClr val="0563C1"/>
                </a:solidFill>
                <a:effectLst/>
                <a:latin typeface="楷體-繁" panose="02010600040101010101" pitchFamily="2" charset="-120"/>
                <a:cs typeface="Times New Roman" panose="02020603050405020304" pitchFamily="18" charset="0"/>
                <a:hlinkClick r:id="rId4"/>
              </a:rPr>
              <a:t>https://www.apple.com/newsroom/2021/10/apple-charges-forward-to-2030-carbon-neutral-goal-adding-9-gigawatts-of-clean-power-and-doubling-supplier-commitments/</a:t>
            </a:r>
            <a:endParaRPr lang="zh-TW" altLang="zh-TW" sz="1800" kern="1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zh-TW" altLang="zh-TW" sz="1200" kern="120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A2806-BA03-7243-B8A7-17AC9BD99045}" type="slidenum">
              <a:rPr kumimoji="1" lang="zh-TW" altLang="en-US" smtClean="0">
                <a:solidFill>
                  <a:prstClr val="black"/>
                </a:solidFill>
              </a:rPr>
              <a:pPr/>
              <a:t>51</a:t>
            </a:fld>
            <a:endParaRPr kumimoji="1"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252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相關子目標包括：</a:t>
            </a:r>
            <a:endParaRPr lang="zh-TW" altLang="zh-TW" sz="1200" kern="1200" dirty="0">
              <a:solidFill>
                <a:schemeClr val="tx1"/>
              </a:solidFill>
              <a:effectLst/>
              <a:latin typeface="+mn-lt"/>
              <a:cs typeface="+mn-cs"/>
            </a:endParaRPr>
          </a:p>
          <a:p>
            <a:r>
              <a:rPr lang="en-US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2025</a:t>
            </a:r>
            <a:r>
              <a:rPr lang="zh-TW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年前達到</a:t>
            </a:r>
            <a:r>
              <a:rPr lang="zh-TW" altLang="en-US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：</a:t>
            </a:r>
            <a:r>
              <a:rPr lang="en-US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1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.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包裝全面轉換成可回收或可再利用</a:t>
            </a:r>
          </a:p>
          <a:p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	2.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使用永續認證的咖啡與可可豆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(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可可豆可以追朔源頭並且須符合相關第三方認證</a:t>
            </a:r>
          </a:p>
          <a:p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	3.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所有據點全面使用可在生電力</a:t>
            </a:r>
          </a:p>
          <a:p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	4. 20%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主要物料之取得來自再生農業</a:t>
            </a:r>
          </a:p>
          <a:p>
            <a:endParaRPr lang="en-US" altLang="zh-TW" sz="1200" kern="1200" dirty="0">
              <a:solidFill>
                <a:schemeClr val="tx1"/>
              </a:solidFill>
              <a:effectLst/>
              <a:latin typeface="+mn-lt"/>
              <a:cs typeface="+mn-cs"/>
            </a:endParaRPr>
          </a:p>
          <a:p>
            <a:endParaRPr lang="zh-TW" altLang="zh-TW" sz="1200" kern="1200" dirty="0">
              <a:solidFill>
                <a:schemeClr val="tx1"/>
              </a:solidFill>
              <a:effectLst/>
              <a:latin typeface="+mn-lt"/>
              <a:cs typeface="+mn-cs"/>
            </a:endParaRPr>
          </a:p>
          <a:p>
            <a:r>
              <a:rPr lang="en-US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2030</a:t>
            </a:r>
            <a:r>
              <a:rPr lang="zh-TW" altLang="zh-TW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年前達到</a:t>
            </a:r>
            <a:r>
              <a:rPr lang="zh-TW" altLang="en-US" sz="1200" b="1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 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1.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種植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2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億棵樹</a:t>
            </a:r>
          </a:p>
          <a:p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	</a:t>
            </a:r>
            <a:r>
              <a:rPr lang="zh-TW" altLang="en-US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   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2.50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％主要物料之取得來自再生農業</a:t>
            </a:r>
          </a:p>
          <a:p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	</a:t>
            </a:r>
            <a:r>
              <a:rPr lang="zh-TW" altLang="en-US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  </a:t>
            </a:r>
            <a:r>
              <a:rPr lang="en-US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 3.</a:t>
            </a:r>
            <a:r>
              <a:rPr lang="zh-TW" altLang="zh-TW" sz="1200" kern="1200" dirty="0">
                <a:solidFill>
                  <a:schemeClr val="tx1"/>
                </a:solidFill>
                <a:effectLst/>
                <a:latin typeface="+mn-lt"/>
                <a:cs typeface="+mn-cs"/>
              </a:rPr>
              <a:t>生產製造過程使用可再生的熱電發電</a:t>
            </a:r>
          </a:p>
          <a:p>
            <a:endParaRPr lang="zh-TW" altLang="zh-TW" sz="1200" kern="120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2A2806-BA03-7243-B8A7-17AC9BD99045}" type="slidenum">
              <a:rPr kumimoji="1" lang="zh-TW" altLang="en-US" smtClean="0">
                <a:solidFill>
                  <a:prstClr val="black"/>
                </a:solidFill>
              </a:rPr>
              <a:pPr/>
              <a:t>53</a:t>
            </a:fld>
            <a:endParaRPr kumimoji="1" lang="zh-TW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11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2BD074-6B3C-49C5-971A-604B9C1E19FB}" type="slidenum">
              <a:rPr lang="zh-CN" altLang="en-US" smtClean="0">
                <a:solidFill>
                  <a:prstClr val="black"/>
                </a:solidFill>
              </a:rPr>
              <a:pPr/>
              <a:t>5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14735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altLang="zh-TW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 the global population grows rapidly, but people for economic development, lead to insufficient energy resources.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7706DB-0C07-4F04-877F-C127D0A028E5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735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2BD074-6B3C-49C5-971A-604B9C1E19FB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69093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1275A8-7B0A-411E-B9A1-2D10C285651D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03551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7" name="投影片圖像版面配置區 1">
            <a:extLst>
              <a:ext uri="{FF2B5EF4-FFF2-40B4-BE49-F238E27FC236}">
                <a16:creationId xmlns:a16="http://schemas.microsoft.com/office/drawing/2014/main" id="{2077D4D6-21B4-451B-96E4-91AC90EBFCC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4738" name="備忘稿版面配置區 2">
            <a:extLst>
              <a:ext uri="{FF2B5EF4-FFF2-40B4-BE49-F238E27FC236}">
                <a16:creationId xmlns:a16="http://schemas.microsoft.com/office/drawing/2014/main" id="{6306D3C4-449A-4811-A194-F0DC61BDCCC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TW" altLang="en-US"/>
          </a:p>
        </p:txBody>
      </p:sp>
      <p:sp>
        <p:nvSpPr>
          <p:cNvPr id="244739" name="投影片編號版面配置區 3">
            <a:extLst>
              <a:ext uri="{FF2B5EF4-FFF2-40B4-BE49-F238E27FC236}">
                <a16:creationId xmlns:a16="http://schemas.microsoft.com/office/drawing/2014/main" id="{A255318A-F22D-4503-8F15-0F65F30F17E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EFA0CE-A92B-4A63-9F13-FFDE41812ABF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1740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833" name="投影片圖像版面配置區 1">
            <a:extLst>
              <a:ext uri="{FF2B5EF4-FFF2-40B4-BE49-F238E27FC236}">
                <a16:creationId xmlns:a16="http://schemas.microsoft.com/office/drawing/2014/main" id="{1D6314C0-628B-48C6-AEAB-881D375BE04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8834" name="備忘稿版面配置區 2">
            <a:extLst>
              <a:ext uri="{FF2B5EF4-FFF2-40B4-BE49-F238E27FC236}">
                <a16:creationId xmlns:a16="http://schemas.microsoft.com/office/drawing/2014/main" id="{208FB55C-EA10-4D6D-8864-8DEBE226D7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TW" altLang="en-US"/>
          </a:p>
        </p:txBody>
      </p:sp>
      <p:sp>
        <p:nvSpPr>
          <p:cNvPr id="248835" name="投影片編號版面配置區 3">
            <a:extLst>
              <a:ext uri="{FF2B5EF4-FFF2-40B4-BE49-F238E27FC236}">
                <a16:creationId xmlns:a16="http://schemas.microsoft.com/office/drawing/2014/main" id="{6AA5E7AA-0B08-4A9F-B011-B9B31EA2000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F8FF22-AEDC-4318-8F87-E6B68F84B878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83661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1" name="投影片影像預留位置 1">
            <a:extLst>
              <a:ext uri="{FF2B5EF4-FFF2-40B4-BE49-F238E27FC236}">
                <a16:creationId xmlns:a16="http://schemas.microsoft.com/office/drawing/2014/main" id="{1B4E5718-5DD7-4CFA-9E18-71B117EF14B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0882" name="備忘稿預留位置 2">
            <a:extLst>
              <a:ext uri="{FF2B5EF4-FFF2-40B4-BE49-F238E27FC236}">
                <a16:creationId xmlns:a16="http://schemas.microsoft.com/office/drawing/2014/main" id="{4CEEDEB5-5D4E-4DA2-A21C-722306D8D07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kumimoji="1" lang="zh-TW" altLang="en-US"/>
              <a:t>遵守法令是不夠的，因為背後有太多看不見的環境成本。</a:t>
            </a:r>
            <a:r>
              <a:rPr lang="zh-TW" altLang="en-US">
                <a:solidFill>
                  <a:srgbClr val="002060"/>
                </a:solidFill>
              </a:rPr>
              <a:t>希望</a:t>
            </a:r>
            <a:r>
              <a:rPr lang="zh-TW" altLang="en-US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所得和環境一樣重要</a:t>
            </a:r>
            <a:r>
              <a:rPr lang="zh-TW" altLang="zh-TW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錢也有生活品質</a:t>
            </a:r>
            <a:r>
              <a:rPr lang="en-US" altLang="zh-TW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  <a:br>
              <a:rPr lang="en-US" altLang="zh-TW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何建立新的生產、生活方式，不增加環境負擔</a:t>
            </a:r>
            <a:r>
              <a:rPr lang="en-US" altLang="zh-TW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…</a:t>
            </a:r>
            <a:endParaRPr kumimoji="1" lang="zh-TW" altLang="en-US"/>
          </a:p>
        </p:txBody>
      </p:sp>
      <p:sp>
        <p:nvSpPr>
          <p:cNvPr id="250883" name="投影片編號預留位置 3">
            <a:extLst>
              <a:ext uri="{FF2B5EF4-FFF2-40B4-BE49-F238E27FC236}">
                <a16:creationId xmlns:a16="http://schemas.microsoft.com/office/drawing/2014/main" id="{DA509656-6F45-4F67-A26B-A826E9D5708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93504D-6362-4267-A3A0-51EF336F00D5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5865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7" name="投影片圖像版面配置區 1">
            <a:extLst>
              <a:ext uri="{FF2B5EF4-FFF2-40B4-BE49-F238E27FC236}">
                <a16:creationId xmlns:a16="http://schemas.microsoft.com/office/drawing/2014/main" id="{569BB732-F1C3-4DD0-8BC8-02579542CEC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0338" name="備忘稿版面配置區 2">
            <a:extLst>
              <a:ext uri="{FF2B5EF4-FFF2-40B4-BE49-F238E27FC236}">
                <a16:creationId xmlns:a16="http://schemas.microsoft.com/office/drawing/2014/main" id="{1966D134-E67B-4881-8EC2-1B3C46504A5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zh-TW" altLang="en-US"/>
          </a:p>
        </p:txBody>
      </p:sp>
      <p:sp>
        <p:nvSpPr>
          <p:cNvPr id="270339" name="投影片編號版面配置區 3">
            <a:extLst>
              <a:ext uri="{FF2B5EF4-FFF2-40B4-BE49-F238E27FC236}">
                <a16:creationId xmlns:a16="http://schemas.microsoft.com/office/drawing/2014/main" id="{9163B358-FA57-458F-8E85-AB20A5509ED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E43DFC1-08AD-465D-A8A1-040088C23E0F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10693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1" name="投影片圖像版面配置區 1">
            <a:extLst>
              <a:ext uri="{FF2B5EF4-FFF2-40B4-BE49-F238E27FC236}">
                <a16:creationId xmlns:a16="http://schemas.microsoft.com/office/drawing/2014/main" id="{54C74ACF-778C-4E4B-BA7E-CEDB83E916A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482" name="備忘稿版面配置區 2">
            <a:extLst>
              <a:ext uri="{FF2B5EF4-FFF2-40B4-BE49-F238E27FC236}">
                <a16:creationId xmlns:a16="http://schemas.microsoft.com/office/drawing/2014/main" id="{FCBB4F6F-B39A-4C74-B2E3-95B6647A369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zh-TW" altLang="en-US"/>
              <a:t>就像資源回收四合一計畫、還有垃圾費、強制分類等政策工具的支持。</a:t>
            </a:r>
          </a:p>
        </p:txBody>
      </p:sp>
      <p:sp>
        <p:nvSpPr>
          <p:cNvPr id="276483" name="投影片編號版面配置區 3">
            <a:extLst>
              <a:ext uri="{FF2B5EF4-FFF2-40B4-BE49-F238E27FC236}">
                <a16:creationId xmlns:a16="http://schemas.microsoft.com/office/drawing/2014/main" id="{1C7EF612-93CD-4A44-B23C-71F6F5AD730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3A8FC0-6C48-47D6-9B7C-523CAAF07438}" type="slidenum">
              <a:rPr kumimoji="0" lang="zh-TW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zh-TW" alt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91494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3239C-2588-F747-A79D-668A664FE3BC}" type="slidenum">
              <a:rPr kumimoji="1" lang="zh-TW" altLang="en-US" smtClean="0"/>
              <a:t>67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2374859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為什麼要再生能源？</a:t>
            </a:r>
            <a:endParaRPr kumimoji="1" lang="en-US" altLang="zh-TW" dirty="0">
              <a:solidFill>
                <a:srgbClr val="FFFFFF"/>
              </a:solidFill>
              <a:latin typeface="Heiti TC Light"/>
              <a:ea typeface="Heiti TC Light"/>
              <a:cs typeface="Heiti TC Light"/>
            </a:endParaRPr>
          </a:p>
          <a:p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因為大自然的力量真的很可怕！特別是極端氣溫與極端氣候事件不斷增加，如加州經歷了有史以來最大規模的野火，造成至少</a:t>
            </a:r>
            <a:r>
              <a:rPr kumimoji="1" lang="en-US" altLang="zh-TW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5</a:t>
            </a: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萬人撤離，</a:t>
            </a:r>
            <a:r>
              <a:rPr kumimoji="1" lang="en-US" altLang="zh-TW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40</a:t>
            </a: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多人死亡，摧毀至少</a:t>
            </a:r>
            <a:r>
              <a:rPr kumimoji="1" lang="en-US" altLang="zh-TW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8400</a:t>
            </a: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棟房屋。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</a:t>
            </a:r>
          </a:p>
          <a:p>
            <a:pPr>
              <a:lnSpc>
                <a:spcPct val="120000"/>
              </a:lnSpc>
              <a:buClr>
                <a:srgbClr val="990099"/>
              </a:buClr>
              <a:buFont typeface="Wingdings" pitchFamily="2" charset="2"/>
              <a:buChar char="n"/>
            </a:pP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科學家正在研究氣候變遷在這些事件中的影響，已經發現人為引起的氣候變化，可能就是造成颶風降雨量增加至少</a:t>
            </a:r>
            <a:r>
              <a:rPr kumimoji="1" lang="en-US" altLang="zh-TW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3.5</a:t>
            </a: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倍，強度增加近兩成的原因。</a:t>
            </a:r>
            <a:endParaRPr kumimoji="1" lang="en-US" altLang="zh-TW" dirty="0">
              <a:solidFill>
                <a:srgbClr val="FFFFFF"/>
              </a:solidFill>
              <a:latin typeface="Heiti TC Light"/>
              <a:ea typeface="Heiti TC Light"/>
              <a:cs typeface="Heiti TC Light"/>
            </a:endParaRPr>
          </a:p>
          <a:p>
            <a:pPr>
              <a:lnSpc>
                <a:spcPct val="120000"/>
              </a:lnSpc>
              <a:buClr>
                <a:srgbClr val="990099"/>
              </a:buClr>
              <a:buFont typeface="Wingdings" pitchFamily="2" charset="2"/>
              <a:buChar char="n"/>
            </a:pP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聯合國</a:t>
            </a:r>
            <a:r>
              <a:rPr kumimoji="1" lang="en-US" altLang="zh-TW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:</a:t>
            </a:r>
            <a:r>
              <a:rPr kumimoji="1" lang="zh-TW" altLang="en-US" dirty="0">
                <a:solidFill>
                  <a:srgbClr val="FFFFFF"/>
                </a:solidFill>
                <a:latin typeface="Heiti TC Light"/>
                <a:ea typeface="Heiti TC Light"/>
                <a:cs typeface="Heiti TC Light"/>
              </a:rPr>
              <a:t>減災行動迫切需要全社會參與的多層面戰略</a:t>
            </a:r>
            <a:endParaRPr kumimoji="1" lang="en-US" altLang="zh-TW" dirty="0">
              <a:solidFill>
                <a:srgbClr val="FFFFFF"/>
              </a:solidFill>
              <a:latin typeface="Heiti TC Light"/>
              <a:ea typeface="Heiti TC Light"/>
              <a:cs typeface="Heiti TC Light"/>
            </a:endParaRPr>
          </a:p>
          <a:p>
            <a:endParaRPr lang="zh-TW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2DF4C6-CBAE-4154-BB44-5A7A81EEEEED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1978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投影片影像版面配置區 1">
            <a:extLst>
              <a:ext uri="{FF2B5EF4-FFF2-40B4-BE49-F238E27FC236}">
                <a16:creationId xmlns:a16="http://schemas.microsoft.com/office/drawing/2014/main" id="{996A5C61-BFFD-44A1-AC1E-DEF6BDB4560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4" name="備忘稿版面配置區 2">
            <a:extLst>
              <a:ext uri="{FF2B5EF4-FFF2-40B4-BE49-F238E27FC236}">
                <a16:creationId xmlns:a16="http://schemas.microsoft.com/office/drawing/2014/main" id="{732A878B-B104-46E9-BD87-CAC35FEBAB2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kumimoji="1" lang="zh-TW" altLang="en-US"/>
              <a:t>從</a:t>
            </a:r>
            <a:r>
              <a:rPr kumimoji="1" lang="en-US" altLang="zh-TW"/>
              <a:t>IPCC</a:t>
            </a:r>
            <a:r>
              <a:rPr kumimoji="1" lang="zh-TW" altLang="en-US"/>
              <a:t>的評估報告當中就知道我們守住</a:t>
            </a:r>
            <a:r>
              <a:rPr kumimoji="1" lang="en-US" altLang="zh-TW"/>
              <a:t>1.5</a:t>
            </a:r>
            <a:r>
              <a:rPr kumimoji="1" lang="zh-TW" altLang="en-US"/>
              <a:t>度</a:t>
            </a:r>
            <a:r>
              <a:rPr kumimoji="1" lang="en-US" altLang="zh-TW"/>
              <a:t>C</a:t>
            </a:r>
            <a:r>
              <a:rPr kumimoji="1" lang="zh-TW" altLang="en-US"/>
              <a:t>的重要性。</a:t>
            </a:r>
          </a:p>
        </p:txBody>
      </p:sp>
      <p:sp>
        <p:nvSpPr>
          <p:cNvPr id="79875" name="投影片編號版面配置區 3">
            <a:extLst>
              <a:ext uri="{FF2B5EF4-FFF2-40B4-BE49-F238E27FC236}">
                <a16:creationId xmlns:a16="http://schemas.microsoft.com/office/drawing/2014/main" id="{2B7401EF-5CCB-42D3-A66B-AC987D7C46C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378DF12-DD9C-448E-8FD7-F2AF6AB49596}" type="slidenum">
              <a:rPr lang="zh-TW" altLang="en-US">
                <a:solidFill>
                  <a:srgbClr val="000000"/>
                </a:solidFill>
                <a:latin typeface="Calibri" panose="020F0502020204030204" pitchFamily="34" charset="0"/>
                <a:ea typeface="新細明體" panose="02020500000000000000" pitchFamily="18" charset="-12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zh-TW" altLang="en-US">
              <a:solidFill>
                <a:srgbClr val="00000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過去大眾對於氣候變遷所造成的極端氣候事件大多認為是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113A6D-195D-4903-9F99-A887C28EC25A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66296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1275A8-7B0A-411E-B9A1-2D10C285651D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656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E6B38B-C7D6-4F0C-A636-031B1E64085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9618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567978AE-66E3-7544-897E-D18144D8F5FA}" type="slidenum">
              <a:rPr kumimoji="1" lang="zh-TW" altLang="en-US" sz="1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1" lang="zh-TW" alt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0703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4.png"/><Relationship Id="rId4" Type="http://schemas.openxmlformats.org/officeDocument/2006/relationships/image" Target="../media/image17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1.pn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2060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 hasCustomPrompt="1"/>
          </p:nvPr>
        </p:nvSpPr>
        <p:spPr>
          <a:xfrm>
            <a:off x="1389514" y="1380519"/>
            <a:ext cx="9412973" cy="46624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zh-TW" altLang="en-US" dirty="0"/>
              <a:t>第一層</a:t>
            </a:r>
          </a:p>
          <a:p>
            <a:pPr lvl="2"/>
            <a:r>
              <a:rPr lang="zh-TW" altLang="en-US" dirty="0"/>
              <a:t>第二層</a:t>
            </a:r>
          </a:p>
          <a:p>
            <a:pPr lvl="3"/>
            <a:r>
              <a:rPr lang="zh-TW" altLang="en-US" dirty="0"/>
              <a:t>第三層</a:t>
            </a:r>
          </a:p>
          <a:p>
            <a:pPr lvl="4"/>
            <a:r>
              <a:rPr lang="zh-TW" altLang="en-US" dirty="0"/>
              <a:t>第四層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760000" y="6356350"/>
            <a:ext cx="2275200" cy="365125"/>
          </a:xfrm>
        </p:spPr>
        <p:txBody>
          <a:bodyPr/>
          <a:lstStyle>
            <a:lvl1pPr>
              <a:defRPr sz="1333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CBD9E41-3741-4017-A2C2-A6D983F224CA}" type="slidenum">
              <a:rPr lang="zh-TW" altLang="en-US" smtClean="0"/>
              <a:pPr/>
              <a:t>‹#›</a:t>
            </a:fld>
            <a:endParaRPr lang="zh-TW" altLang="en-US" dirty="0"/>
          </a:p>
        </p:txBody>
      </p:sp>
      <p:cxnSp>
        <p:nvCxnSpPr>
          <p:cNvPr id="8" name="直線接點 7"/>
          <p:cNvCxnSpPr>
            <a:cxnSpLocks/>
          </p:cNvCxnSpPr>
          <p:nvPr userDrawn="1"/>
        </p:nvCxnSpPr>
        <p:spPr>
          <a:xfrm>
            <a:off x="1" y="923851"/>
            <a:ext cx="9276521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圖片 13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1" y="6286884"/>
            <a:ext cx="2759459" cy="504056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47D55A8-6893-490F-95D9-20F0741B4570}"/>
              </a:ext>
            </a:extLst>
          </p:cNvPr>
          <p:cNvSpPr/>
          <p:nvPr userDrawn="1"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2749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492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分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9">
            <a:extLst>
              <a:ext uri="{FF2B5EF4-FFF2-40B4-BE49-F238E27FC236}">
                <a16:creationId xmlns:a16="http://schemas.microsoft.com/office/drawing/2014/main" id="{C3E58903-1F44-4D78-B5E8-85BB91DAB5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5469" y="2708920"/>
            <a:ext cx="9601067" cy="1440160"/>
          </a:xfrm>
          <a:prstGeom prst="roundRect">
            <a:avLst>
              <a:gd name="adj" fmla="val 29167"/>
            </a:avLst>
          </a:prstGeom>
          <a:solidFill>
            <a:srgbClr val="B9D9BB"/>
          </a:solidFill>
          <a:ln w="9525">
            <a:solidFill>
              <a:srgbClr val="77A978"/>
            </a:solidFill>
            <a:round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1500">
              <a:latin typeface="+mn-lt"/>
              <a:ea typeface="+mn-ea"/>
            </a:endParaRPr>
          </a:p>
        </p:txBody>
      </p:sp>
      <p:sp>
        <p:nvSpPr>
          <p:cNvPr id="7" name="文字版面配置區 6"/>
          <p:cNvSpPr>
            <a:spLocks noGrp="1"/>
          </p:cNvSpPr>
          <p:nvPr>
            <p:ph type="body" sz="quarter" idx="10"/>
          </p:nvPr>
        </p:nvSpPr>
        <p:spPr>
          <a:xfrm>
            <a:off x="1583501" y="2852937"/>
            <a:ext cx="9025003" cy="1152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342882" indent="0">
              <a:buNone/>
              <a:defRPr/>
            </a:lvl2pPr>
            <a:lvl5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41">
            <a:extLst>
              <a:ext uri="{FF2B5EF4-FFF2-40B4-BE49-F238E27FC236}">
                <a16:creationId xmlns:a16="http://schemas.microsoft.com/office/drawing/2014/main" id="{5ABA0185-D94D-421F-B858-7C2ACE07BB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64952" y="6481234"/>
            <a:ext cx="527049" cy="376767"/>
          </a:xfrm>
        </p:spPr>
        <p:txBody>
          <a:bodyPr/>
          <a:lstStyle>
            <a:lvl1pPr algn="ctr">
              <a:defRPr kumimoji="0" sz="1200" b="1" smtClean="0">
                <a:cs typeface="Arial" pitchFamily="34" charset="0"/>
              </a:defRPr>
            </a:lvl1pPr>
          </a:lstStyle>
          <a:p>
            <a:pPr>
              <a:defRPr/>
            </a:pPr>
            <a:fld id="{AA661AE6-32E0-4D9A-8B9E-05894A0EDE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690532146"/>
      </p:ext>
    </p:extLst>
  </p:cSld>
  <p:clrMapOvr>
    <a:masterClrMapping/>
  </p:clrMapOvr>
  <p:transition spd="slow">
    <p:cover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DE2E88-6A87-4923-A695-C08C6C89DECA}"/>
              </a:ext>
            </a:extLst>
          </p:cNvPr>
          <p:cNvSpPr/>
          <p:nvPr userDrawn="1"/>
        </p:nvSpPr>
        <p:spPr>
          <a:xfrm>
            <a:off x="173631" y="0"/>
            <a:ext cx="942221" cy="1583239"/>
          </a:xfrm>
          <a:custGeom>
            <a:avLst/>
            <a:gdLst>
              <a:gd name="connsiteX0" fmla="*/ 238907 w 561676"/>
              <a:gd name="connsiteY0" fmla="*/ 482 h 943801"/>
              <a:gd name="connsiteX1" fmla="*/ 358608 w 561676"/>
              <a:gd name="connsiteY1" fmla="*/ 22 h 943801"/>
              <a:gd name="connsiteX2" fmla="*/ 390836 w 561676"/>
              <a:gd name="connsiteY2" fmla="*/ 22581 h 943801"/>
              <a:gd name="connsiteX3" fmla="*/ 563022 w 561676"/>
              <a:gd name="connsiteY3" fmla="*/ 488036 h 943801"/>
              <a:gd name="connsiteX4" fmla="*/ 540923 w 561676"/>
              <a:gd name="connsiteY4" fmla="*/ 517501 h 943801"/>
              <a:gd name="connsiteX5" fmla="*/ 319015 w 561676"/>
              <a:gd name="connsiteY5" fmla="*/ 517501 h 943801"/>
              <a:gd name="connsiteX6" fmla="*/ 295075 w 561676"/>
              <a:gd name="connsiteY6" fmla="*/ 551109 h 943801"/>
              <a:gd name="connsiteX7" fmla="*/ 434573 w 561676"/>
              <a:gd name="connsiteY7" fmla="*/ 912056 h 943801"/>
              <a:gd name="connsiteX8" fmla="*/ 437796 w 561676"/>
              <a:gd name="connsiteY8" fmla="*/ 920343 h 943801"/>
              <a:gd name="connsiteX9" fmla="*/ 431811 w 561676"/>
              <a:gd name="connsiteY9" fmla="*/ 944743 h 943801"/>
              <a:gd name="connsiteX10" fmla="*/ 408331 w 561676"/>
              <a:gd name="connsiteY10" fmla="*/ 935996 h 943801"/>
              <a:gd name="connsiteX11" fmla="*/ 288169 w 561676"/>
              <a:gd name="connsiteY11" fmla="*/ 771176 h 943801"/>
              <a:gd name="connsiteX12" fmla="*/ 10553 w 561676"/>
              <a:gd name="connsiteY12" fmla="*/ 389973 h 943801"/>
              <a:gd name="connsiteX13" fmla="*/ 2266 w 561676"/>
              <a:gd name="connsiteY13" fmla="*/ 361428 h 943801"/>
              <a:gd name="connsiteX14" fmla="*/ 28969 w 561676"/>
              <a:gd name="connsiteY14" fmla="*/ 352681 h 943801"/>
              <a:gd name="connsiteX15" fmla="*/ 185502 w 561676"/>
              <a:gd name="connsiteY15" fmla="*/ 352681 h 943801"/>
              <a:gd name="connsiteX16" fmla="*/ 208061 w 561676"/>
              <a:gd name="connsiteY16" fmla="*/ 319993 h 943801"/>
              <a:gd name="connsiteX17" fmla="*/ 97567 w 561676"/>
              <a:gd name="connsiteY17" fmla="*/ 34551 h 943801"/>
              <a:gd name="connsiteX18" fmla="*/ 120587 w 561676"/>
              <a:gd name="connsiteY18" fmla="*/ 482 h 943801"/>
              <a:gd name="connsiteX19" fmla="*/ 238907 w 561676"/>
              <a:gd name="connsiteY19" fmla="*/ 482 h 9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1676" h="943801">
                <a:moveTo>
                  <a:pt x="238907" y="482"/>
                </a:moveTo>
                <a:cubicBezTo>
                  <a:pt x="278961" y="482"/>
                  <a:pt x="318555" y="1403"/>
                  <a:pt x="358608" y="22"/>
                </a:cubicBezTo>
                <a:cubicBezTo>
                  <a:pt x="376103" y="-439"/>
                  <a:pt x="384851" y="6467"/>
                  <a:pt x="390836" y="22581"/>
                </a:cubicBezTo>
                <a:cubicBezTo>
                  <a:pt x="447924" y="178193"/>
                  <a:pt x="505473" y="333344"/>
                  <a:pt x="563022" y="488036"/>
                </a:cubicBezTo>
                <a:cubicBezTo>
                  <a:pt x="570388" y="508293"/>
                  <a:pt x="563943" y="517501"/>
                  <a:pt x="540923" y="517501"/>
                </a:cubicBezTo>
                <a:cubicBezTo>
                  <a:pt x="466800" y="517501"/>
                  <a:pt x="393138" y="517501"/>
                  <a:pt x="319015" y="517501"/>
                </a:cubicBezTo>
                <a:cubicBezTo>
                  <a:pt x="290010" y="517501"/>
                  <a:pt x="284946" y="524407"/>
                  <a:pt x="295075" y="551109"/>
                </a:cubicBezTo>
                <a:cubicBezTo>
                  <a:pt x="341574" y="671271"/>
                  <a:pt x="388074" y="791894"/>
                  <a:pt x="434573" y="912056"/>
                </a:cubicBezTo>
                <a:cubicBezTo>
                  <a:pt x="435494" y="914818"/>
                  <a:pt x="436875" y="917580"/>
                  <a:pt x="437796" y="920343"/>
                </a:cubicBezTo>
                <a:cubicBezTo>
                  <a:pt x="441018" y="930011"/>
                  <a:pt x="442400" y="939219"/>
                  <a:pt x="431811" y="944743"/>
                </a:cubicBezTo>
                <a:cubicBezTo>
                  <a:pt x="421222" y="950268"/>
                  <a:pt x="414316" y="944283"/>
                  <a:pt x="408331" y="935996"/>
                </a:cubicBezTo>
                <a:cubicBezTo>
                  <a:pt x="368277" y="880749"/>
                  <a:pt x="328223" y="825963"/>
                  <a:pt x="288169" y="771176"/>
                </a:cubicBezTo>
                <a:cubicBezTo>
                  <a:pt x="195630" y="644108"/>
                  <a:pt x="103092" y="517040"/>
                  <a:pt x="10553" y="389973"/>
                </a:cubicBezTo>
                <a:cubicBezTo>
                  <a:pt x="4568" y="381685"/>
                  <a:pt x="-4179" y="373398"/>
                  <a:pt x="2266" y="361428"/>
                </a:cubicBezTo>
                <a:cubicBezTo>
                  <a:pt x="8251" y="350839"/>
                  <a:pt x="19301" y="352681"/>
                  <a:pt x="28969" y="352681"/>
                </a:cubicBezTo>
                <a:cubicBezTo>
                  <a:pt x="80993" y="352681"/>
                  <a:pt x="133477" y="352681"/>
                  <a:pt x="185502" y="352681"/>
                </a:cubicBezTo>
                <a:cubicBezTo>
                  <a:pt x="211744" y="352681"/>
                  <a:pt x="217269" y="344394"/>
                  <a:pt x="208061" y="319993"/>
                </a:cubicBezTo>
                <a:cubicBezTo>
                  <a:pt x="171230" y="224692"/>
                  <a:pt x="134398" y="129391"/>
                  <a:pt x="97567" y="34551"/>
                </a:cubicBezTo>
                <a:cubicBezTo>
                  <a:pt x="86978" y="7388"/>
                  <a:pt x="91582" y="482"/>
                  <a:pt x="120587" y="482"/>
                </a:cubicBezTo>
                <a:cubicBezTo>
                  <a:pt x="160180" y="482"/>
                  <a:pt x="199313" y="482"/>
                  <a:pt x="238907" y="48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45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115276D-F3BF-43F2-930C-943D3CCC450E}"/>
              </a:ext>
            </a:extLst>
          </p:cNvPr>
          <p:cNvSpPr/>
          <p:nvPr userDrawn="1"/>
        </p:nvSpPr>
        <p:spPr>
          <a:xfrm>
            <a:off x="1265750" y="0"/>
            <a:ext cx="542368" cy="911356"/>
          </a:xfrm>
          <a:custGeom>
            <a:avLst/>
            <a:gdLst>
              <a:gd name="connsiteX0" fmla="*/ 238907 w 561676"/>
              <a:gd name="connsiteY0" fmla="*/ 482 h 943801"/>
              <a:gd name="connsiteX1" fmla="*/ 358608 w 561676"/>
              <a:gd name="connsiteY1" fmla="*/ 22 h 943801"/>
              <a:gd name="connsiteX2" fmla="*/ 390836 w 561676"/>
              <a:gd name="connsiteY2" fmla="*/ 22581 h 943801"/>
              <a:gd name="connsiteX3" fmla="*/ 563022 w 561676"/>
              <a:gd name="connsiteY3" fmla="*/ 488036 h 943801"/>
              <a:gd name="connsiteX4" fmla="*/ 540923 w 561676"/>
              <a:gd name="connsiteY4" fmla="*/ 517501 h 943801"/>
              <a:gd name="connsiteX5" fmla="*/ 319015 w 561676"/>
              <a:gd name="connsiteY5" fmla="*/ 517501 h 943801"/>
              <a:gd name="connsiteX6" fmla="*/ 295075 w 561676"/>
              <a:gd name="connsiteY6" fmla="*/ 551109 h 943801"/>
              <a:gd name="connsiteX7" fmla="*/ 434573 w 561676"/>
              <a:gd name="connsiteY7" fmla="*/ 912056 h 943801"/>
              <a:gd name="connsiteX8" fmla="*/ 437796 w 561676"/>
              <a:gd name="connsiteY8" fmla="*/ 920343 h 943801"/>
              <a:gd name="connsiteX9" fmla="*/ 431811 w 561676"/>
              <a:gd name="connsiteY9" fmla="*/ 944743 h 943801"/>
              <a:gd name="connsiteX10" fmla="*/ 408331 w 561676"/>
              <a:gd name="connsiteY10" fmla="*/ 935996 h 943801"/>
              <a:gd name="connsiteX11" fmla="*/ 288169 w 561676"/>
              <a:gd name="connsiteY11" fmla="*/ 771176 h 943801"/>
              <a:gd name="connsiteX12" fmla="*/ 10553 w 561676"/>
              <a:gd name="connsiteY12" fmla="*/ 389973 h 943801"/>
              <a:gd name="connsiteX13" fmla="*/ 2266 w 561676"/>
              <a:gd name="connsiteY13" fmla="*/ 361428 h 943801"/>
              <a:gd name="connsiteX14" fmla="*/ 28969 w 561676"/>
              <a:gd name="connsiteY14" fmla="*/ 352681 h 943801"/>
              <a:gd name="connsiteX15" fmla="*/ 185502 w 561676"/>
              <a:gd name="connsiteY15" fmla="*/ 352681 h 943801"/>
              <a:gd name="connsiteX16" fmla="*/ 208061 w 561676"/>
              <a:gd name="connsiteY16" fmla="*/ 319993 h 943801"/>
              <a:gd name="connsiteX17" fmla="*/ 97567 w 561676"/>
              <a:gd name="connsiteY17" fmla="*/ 34551 h 943801"/>
              <a:gd name="connsiteX18" fmla="*/ 120587 w 561676"/>
              <a:gd name="connsiteY18" fmla="*/ 482 h 943801"/>
              <a:gd name="connsiteX19" fmla="*/ 238907 w 561676"/>
              <a:gd name="connsiteY19" fmla="*/ 482 h 9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1676" h="943801">
                <a:moveTo>
                  <a:pt x="238907" y="482"/>
                </a:moveTo>
                <a:cubicBezTo>
                  <a:pt x="278961" y="482"/>
                  <a:pt x="318555" y="1403"/>
                  <a:pt x="358608" y="22"/>
                </a:cubicBezTo>
                <a:cubicBezTo>
                  <a:pt x="376103" y="-439"/>
                  <a:pt x="384851" y="6467"/>
                  <a:pt x="390836" y="22581"/>
                </a:cubicBezTo>
                <a:cubicBezTo>
                  <a:pt x="447924" y="178193"/>
                  <a:pt x="505473" y="333344"/>
                  <a:pt x="563022" y="488036"/>
                </a:cubicBezTo>
                <a:cubicBezTo>
                  <a:pt x="570388" y="508293"/>
                  <a:pt x="563943" y="517501"/>
                  <a:pt x="540923" y="517501"/>
                </a:cubicBezTo>
                <a:cubicBezTo>
                  <a:pt x="466800" y="517501"/>
                  <a:pt x="393138" y="517501"/>
                  <a:pt x="319015" y="517501"/>
                </a:cubicBezTo>
                <a:cubicBezTo>
                  <a:pt x="290010" y="517501"/>
                  <a:pt x="284946" y="524407"/>
                  <a:pt x="295075" y="551109"/>
                </a:cubicBezTo>
                <a:cubicBezTo>
                  <a:pt x="341574" y="671271"/>
                  <a:pt x="388074" y="791894"/>
                  <a:pt x="434573" y="912056"/>
                </a:cubicBezTo>
                <a:cubicBezTo>
                  <a:pt x="435494" y="914818"/>
                  <a:pt x="436875" y="917580"/>
                  <a:pt x="437796" y="920343"/>
                </a:cubicBezTo>
                <a:cubicBezTo>
                  <a:pt x="441018" y="930011"/>
                  <a:pt x="442400" y="939219"/>
                  <a:pt x="431811" y="944743"/>
                </a:cubicBezTo>
                <a:cubicBezTo>
                  <a:pt x="421222" y="950268"/>
                  <a:pt x="414316" y="944283"/>
                  <a:pt x="408331" y="935996"/>
                </a:cubicBezTo>
                <a:cubicBezTo>
                  <a:pt x="368277" y="880749"/>
                  <a:pt x="328223" y="825963"/>
                  <a:pt x="288169" y="771176"/>
                </a:cubicBezTo>
                <a:cubicBezTo>
                  <a:pt x="195630" y="644108"/>
                  <a:pt x="103092" y="517040"/>
                  <a:pt x="10553" y="389973"/>
                </a:cubicBezTo>
                <a:cubicBezTo>
                  <a:pt x="4568" y="381685"/>
                  <a:pt x="-4179" y="373398"/>
                  <a:pt x="2266" y="361428"/>
                </a:cubicBezTo>
                <a:cubicBezTo>
                  <a:pt x="8251" y="350839"/>
                  <a:pt x="19301" y="352681"/>
                  <a:pt x="28969" y="352681"/>
                </a:cubicBezTo>
                <a:cubicBezTo>
                  <a:pt x="80993" y="352681"/>
                  <a:pt x="133477" y="352681"/>
                  <a:pt x="185502" y="352681"/>
                </a:cubicBezTo>
                <a:cubicBezTo>
                  <a:pt x="211744" y="352681"/>
                  <a:pt x="217269" y="344394"/>
                  <a:pt x="208061" y="319993"/>
                </a:cubicBezTo>
                <a:cubicBezTo>
                  <a:pt x="171230" y="224692"/>
                  <a:pt x="134398" y="129391"/>
                  <a:pt x="97567" y="34551"/>
                </a:cubicBezTo>
                <a:cubicBezTo>
                  <a:pt x="86978" y="7388"/>
                  <a:pt x="91582" y="482"/>
                  <a:pt x="120587" y="482"/>
                </a:cubicBezTo>
                <a:cubicBezTo>
                  <a:pt x="160180" y="482"/>
                  <a:pt x="199313" y="482"/>
                  <a:pt x="238907" y="48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45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47D55A8-6893-490F-95D9-20F0741B4570}"/>
              </a:ext>
            </a:extLst>
          </p:cNvPr>
          <p:cNvSpPr/>
          <p:nvPr userDrawn="1"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pic>
        <p:nvPicPr>
          <p:cNvPr id="6" name="圖片 5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1" y="6344034"/>
            <a:ext cx="2759459" cy="50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4385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1DE2E88-6A87-4923-A695-C08C6C89DECA}"/>
              </a:ext>
            </a:extLst>
          </p:cNvPr>
          <p:cNvSpPr/>
          <p:nvPr userDrawn="1"/>
        </p:nvSpPr>
        <p:spPr>
          <a:xfrm>
            <a:off x="173631" y="0"/>
            <a:ext cx="942221" cy="1583239"/>
          </a:xfrm>
          <a:custGeom>
            <a:avLst/>
            <a:gdLst>
              <a:gd name="connsiteX0" fmla="*/ 238907 w 561676"/>
              <a:gd name="connsiteY0" fmla="*/ 482 h 943801"/>
              <a:gd name="connsiteX1" fmla="*/ 358608 w 561676"/>
              <a:gd name="connsiteY1" fmla="*/ 22 h 943801"/>
              <a:gd name="connsiteX2" fmla="*/ 390836 w 561676"/>
              <a:gd name="connsiteY2" fmla="*/ 22581 h 943801"/>
              <a:gd name="connsiteX3" fmla="*/ 563022 w 561676"/>
              <a:gd name="connsiteY3" fmla="*/ 488036 h 943801"/>
              <a:gd name="connsiteX4" fmla="*/ 540923 w 561676"/>
              <a:gd name="connsiteY4" fmla="*/ 517501 h 943801"/>
              <a:gd name="connsiteX5" fmla="*/ 319015 w 561676"/>
              <a:gd name="connsiteY5" fmla="*/ 517501 h 943801"/>
              <a:gd name="connsiteX6" fmla="*/ 295075 w 561676"/>
              <a:gd name="connsiteY6" fmla="*/ 551109 h 943801"/>
              <a:gd name="connsiteX7" fmla="*/ 434573 w 561676"/>
              <a:gd name="connsiteY7" fmla="*/ 912056 h 943801"/>
              <a:gd name="connsiteX8" fmla="*/ 437796 w 561676"/>
              <a:gd name="connsiteY8" fmla="*/ 920343 h 943801"/>
              <a:gd name="connsiteX9" fmla="*/ 431811 w 561676"/>
              <a:gd name="connsiteY9" fmla="*/ 944743 h 943801"/>
              <a:gd name="connsiteX10" fmla="*/ 408331 w 561676"/>
              <a:gd name="connsiteY10" fmla="*/ 935996 h 943801"/>
              <a:gd name="connsiteX11" fmla="*/ 288169 w 561676"/>
              <a:gd name="connsiteY11" fmla="*/ 771176 h 943801"/>
              <a:gd name="connsiteX12" fmla="*/ 10553 w 561676"/>
              <a:gd name="connsiteY12" fmla="*/ 389973 h 943801"/>
              <a:gd name="connsiteX13" fmla="*/ 2266 w 561676"/>
              <a:gd name="connsiteY13" fmla="*/ 361428 h 943801"/>
              <a:gd name="connsiteX14" fmla="*/ 28969 w 561676"/>
              <a:gd name="connsiteY14" fmla="*/ 352681 h 943801"/>
              <a:gd name="connsiteX15" fmla="*/ 185502 w 561676"/>
              <a:gd name="connsiteY15" fmla="*/ 352681 h 943801"/>
              <a:gd name="connsiteX16" fmla="*/ 208061 w 561676"/>
              <a:gd name="connsiteY16" fmla="*/ 319993 h 943801"/>
              <a:gd name="connsiteX17" fmla="*/ 97567 w 561676"/>
              <a:gd name="connsiteY17" fmla="*/ 34551 h 943801"/>
              <a:gd name="connsiteX18" fmla="*/ 120587 w 561676"/>
              <a:gd name="connsiteY18" fmla="*/ 482 h 943801"/>
              <a:gd name="connsiteX19" fmla="*/ 238907 w 561676"/>
              <a:gd name="connsiteY19" fmla="*/ 482 h 9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1676" h="943801">
                <a:moveTo>
                  <a:pt x="238907" y="482"/>
                </a:moveTo>
                <a:cubicBezTo>
                  <a:pt x="278961" y="482"/>
                  <a:pt x="318555" y="1403"/>
                  <a:pt x="358608" y="22"/>
                </a:cubicBezTo>
                <a:cubicBezTo>
                  <a:pt x="376103" y="-439"/>
                  <a:pt x="384851" y="6467"/>
                  <a:pt x="390836" y="22581"/>
                </a:cubicBezTo>
                <a:cubicBezTo>
                  <a:pt x="447924" y="178193"/>
                  <a:pt x="505473" y="333344"/>
                  <a:pt x="563022" y="488036"/>
                </a:cubicBezTo>
                <a:cubicBezTo>
                  <a:pt x="570388" y="508293"/>
                  <a:pt x="563943" y="517501"/>
                  <a:pt x="540923" y="517501"/>
                </a:cubicBezTo>
                <a:cubicBezTo>
                  <a:pt x="466800" y="517501"/>
                  <a:pt x="393138" y="517501"/>
                  <a:pt x="319015" y="517501"/>
                </a:cubicBezTo>
                <a:cubicBezTo>
                  <a:pt x="290010" y="517501"/>
                  <a:pt x="284946" y="524407"/>
                  <a:pt x="295075" y="551109"/>
                </a:cubicBezTo>
                <a:cubicBezTo>
                  <a:pt x="341574" y="671271"/>
                  <a:pt x="388074" y="791894"/>
                  <a:pt x="434573" y="912056"/>
                </a:cubicBezTo>
                <a:cubicBezTo>
                  <a:pt x="435494" y="914818"/>
                  <a:pt x="436875" y="917580"/>
                  <a:pt x="437796" y="920343"/>
                </a:cubicBezTo>
                <a:cubicBezTo>
                  <a:pt x="441018" y="930011"/>
                  <a:pt x="442400" y="939219"/>
                  <a:pt x="431811" y="944743"/>
                </a:cubicBezTo>
                <a:cubicBezTo>
                  <a:pt x="421222" y="950268"/>
                  <a:pt x="414316" y="944283"/>
                  <a:pt x="408331" y="935996"/>
                </a:cubicBezTo>
                <a:cubicBezTo>
                  <a:pt x="368277" y="880749"/>
                  <a:pt x="328223" y="825963"/>
                  <a:pt x="288169" y="771176"/>
                </a:cubicBezTo>
                <a:cubicBezTo>
                  <a:pt x="195630" y="644108"/>
                  <a:pt x="103092" y="517040"/>
                  <a:pt x="10553" y="389973"/>
                </a:cubicBezTo>
                <a:cubicBezTo>
                  <a:pt x="4568" y="381685"/>
                  <a:pt x="-4179" y="373398"/>
                  <a:pt x="2266" y="361428"/>
                </a:cubicBezTo>
                <a:cubicBezTo>
                  <a:pt x="8251" y="350839"/>
                  <a:pt x="19301" y="352681"/>
                  <a:pt x="28969" y="352681"/>
                </a:cubicBezTo>
                <a:cubicBezTo>
                  <a:pt x="80993" y="352681"/>
                  <a:pt x="133477" y="352681"/>
                  <a:pt x="185502" y="352681"/>
                </a:cubicBezTo>
                <a:cubicBezTo>
                  <a:pt x="211744" y="352681"/>
                  <a:pt x="217269" y="344394"/>
                  <a:pt x="208061" y="319993"/>
                </a:cubicBezTo>
                <a:cubicBezTo>
                  <a:pt x="171230" y="224692"/>
                  <a:pt x="134398" y="129391"/>
                  <a:pt x="97567" y="34551"/>
                </a:cubicBezTo>
                <a:cubicBezTo>
                  <a:pt x="86978" y="7388"/>
                  <a:pt x="91582" y="482"/>
                  <a:pt x="120587" y="482"/>
                </a:cubicBezTo>
                <a:cubicBezTo>
                  <a:pt x="160180" y="482"/>
                  <a:pt x="199313" y="482"/>
                  <a:pt x="238907" y="48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45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115276D-F3BF-43F2-930C-943D3CCC450E}"/>
              </a:ext>
            </a:extLst>
          </p:cNvPr>
          <p:cNvSpPr/>
          <p:nvPr userDrawn="1"/>
        </p:nvSpPr>
        <p:spPr>
          <a:xfrm>
            <a:off x="1265750" y="0"/>
            <a:ext cx="542368" cy="911356"/>
          </a:xfrm>
          <a:custGeom>
            <a:avLst/>
            <a:gdLst>
              <a:gd name="connsiteX0" fmla="*/ 238907 w 561676"/>
              <a:gd name="connsiteY0" fmla="*/ 482 h 943801"/>
              <a:gd name="connsiteX1" fmla="*/ 358608 w 561676"/>
              <a:gd name="connsiteY1" fmla="*/ 22 h 943801"/>
              <a:gd name="connsiteX2" fmla="*/ 390836 w 561676"/>
              <a:gd name="connsiteY2" fmla="*/ 22581 h 943801"/>
              <a:gd name="connsiteX3" fmla="*/ 563022 w 561676"/>
              <a:gd name="connsiteY3" fmla="*/ 488036 h 943801"/>
              <a:gd name="connsiteX4" fmla="*/ 540923 w 561676"/>
              <a:gd name="connsiteY4" fmla="*/ 517501 h 943801"/>
              <a:gd name="connsiteX5" fmla="*/ 319015 w 561676"/>
              <a:gd name="connsiteY5" fmla="*/ 517501 h 943801"/>
              <a:gd name="connsiteX6" fmla="*/ 295075 w 561676"/>
              <a:gd name="connsiteY6" fmla="*/ 551109 h 943801"/>
              <a:gd name="connsiteX7" fmla="*/ 434573 w 561676"/>
              <a:gd name="connsiteY7" fmla="*/ 912056 h 943801"/>
              <a:gd name="connsiteX8" fmla="*/ 437796 w 561676"/>
              <a:gd name="connsiteY8" fmla="*/ 920343 h 943801"/>
              <a:gd name="connsiteX9" fmla="*/ 431811 w 561676"/>
              <a:gd name="connsiteY9" fmla="*/ 944743 h 943801"/>
              <a:gd name="connsiteX10" fmla="*/ 408331 w 561676"/>
              <a:gd name="connsiteY10" fmla="*/ 935996 h 943801"/>
              <a:gd name="connsiteX11" fmla="*/ 288169 w 561676"/>
              <a:gd name="connsiteY11" fmla="*/ 771176 h 943801"/>
              <a:gd name="connsiteX12" fmla="*/ 10553 w 561676"/>
              <a:gd name="connsiteY12" fmla="*/ 389973 h 943801"/>
              <a:gd name="connsiteX13" fmla="*/ 2266 w 561676"/>
              <a:gd name="connsiteY13" fmla="*/ 361428 h 943801"/>
              <a:gd name="connsiteX14" fmla="*/ 28969 w 561676"/>
              <a:gd name="connsiteY14" fmla="*/ 352681 h 943801"/>
              <a:gd name="connsiteX15" fmla="*/ 185502 w 561676"/>
              <a:gd name="connsiteY15" fmla="*/ 352681 h 943801"/>
              <a:gd name="connsiteX16" fmla="*/ 208061 w 561676"/>
              <a:gd name="connsiteY16" fmla="*/ 319993 h 943801"/>
              <a:gd name="connsiteX17" fmla="*/ 97567 w 561676"/>
              <a:gd name="connsiteY17" fmla="*/ 34551 h 943801"/>
              <a:gd name="connsiteX18" fmla="*/ 120587 w 561676"/>
              <a:gd name="connsiteY18" fmla="*/ 482 h 943801"/>
              <a:gd name="connsiteX19" fmla="*/ 238907 w 561676"/>
              <a:gd name="connsiteY19" fmla="*/ 482 h 9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561676" h="943801">
                <a:moveTo>
                  <a:pt x="238907" y="482"/>
                </a:moveTo>
                <a:cubicBezTo>
                  <a:pt x="278961" y="482"/>
                  <a:pt x="318555" y="1403"/>
                  <a:pt x="358608" y="22"/>
                </a:cubicBezTo>
                <a:cubicBezTo>
                  <a:pt x="376103" y="-439"/>
                  <a:pt x="384851" y="6467"/>
                  <a:pt x="390836" y="22581"/>
                </a:cubicBezTo>
                <a:cubicBezTo>
                  <a:pt x="447924" y="178193"/>
                  <a:pt x="505473" y="333344"/>
                  <a:pt x="563022" y="488036"/>
                </a:cubicBezTo>
                <a:cubicBezTo>
                  <a:pt x="570388" y="508293"/>
                  <a:pt x="563943" y="517501"/>
                  <a:pt x="540923" y="517501"/>
                </a:cubicBezTo>
                <a:cubicBezTo>
                  <a:pt x="466800" y="517501"/>
                  <a:pt x="393138" y="517501"/>
                  <a:pt x="319015" y="517501"/>
                </a:cubicBezTo>
                <a:cubicBezTo>
                  <a:pt x="290010" y="517501"/>
                  <a:pt x="284946" y="524407"/>
                  <a:pt x="295075" y="551109"/>
                </a:cubicBezTo>
                <a:cubicBezTo>
                  <a:pt x="341574" y="671271"/>
                  <a:pt x="388074" y="791894"/>
                  <a:pt x="434573" y="912056"/>
                </a:cubicBezTo>
                <a:cubicBezTo>
                  <a:pt x="435494" y="914818"/>
                  <a:pt x="436875" y="917580"/>
                  <a:pt x="437796" y="920343"/>
                </a:cubicBezTo>
                <a:cubicBezTo>
                  <a:pt x="441018" y="930011"/>
                  <a:pt x="442400" y="939219"/>
                  <a:pt x="431811" y="944743"/>
                </a:cubicBezTo>
                <a:cubicBezTo>
                  <a:pt x="421222" y="950268"/>
                  <a:pt x="414316" y="944283"/>
                  <a:pt x="408331" y="935996"/>
                </a:cubicBezTo>
                <a:cubicBezTo>
                  <a:pt x="368277" y="880749"/>
                  <a:pt x="328223" y="825963"/>
                  <a:pt x="288169" y="771176"/>
                </a:cubicBezTo>
                <a:cubicBezTo>
                  <a:pt x="195630" y="644108"/>
                  <a:pt x="103092" y="517040"/>
                  <a:pt x="10553" y="389973"/>
                </a:cubicBezTo>
                <a:cubicBezTo>
                  <a:pt x="4568" y="381685"/>
                  <a:pt x="-4179" y="373398"/>
                  <a:pt x="2266" y="361428"/>
                </a:cubicBezTo>
                <a:cubicBezTo>
                  <a:pt x="8251" y="350839"/>
                  <a:pt x="19301" y="352681"/>
                  <a:pt x="28969" y="352681"/>
                </a:cubicBezTo>
                <a:cubicBezTo>
                  <a:pt x="80993" y="352681"/>
                  <a:pt x="133477" y="352681"/>
                  <a:pt x="185502" y="352681"/>
                </a:cubicBezTo>
                <a:cubicBezTo>
                  <a:pt x="211744" y="352681"/>
                  <a:pt x="217269" y="344394"/>
                  <a:pt x="208061" y="319993"/>
                </a:cubicBezTo>
                <a:cubicBezTo>
                  <a:pt x="171230" y="224692"/>
                  <a:pt x="134398" y="129391"/>
                  <a:pt x="97567" y="34551"/>
                </a:cubicBezTo>
                <a:cubicBezTo>
                  <a:pt x="86978" y="7388"/>
                  <a:pt x="91582" y="482"/>
                  <a:pt x="120587" y="482"/>
                </a:cubicBezTo>
                <a:cubicBezTo>
                  <a:pt x="160180" y="482"/>
                  <a:pt x="199313" y="482"/>
                  <a:pt x="238907" y="48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45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1489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3E69537-CC5A-4694-B61B-401CDCE14E9F}"/>
              </a:ext>
            </a:extLst>
          </p:cNvPr>
          <p:cNvGrpSpPr/>
          <p:nvPr userDrawn="1"/>
        </p:nvGrpSpPr>
        <p:grpSpPr>
          <a:xfrm>
            <a:off x="323529" y="4603539"/>
            <a:ext cx="11654798" cy="2035618"/>
            <a:chOff x="323529" y="4603539"/>
            <a:chExt cx="11654798" cy="2035618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2045BAE-2033-4781-88D7-3316C0868B69}"/>
                </a:ext>
              </a:extLst>
            </p:cNvPr>
            <p:cNvSpPr/>
            <p:nvPr/>
          </p:nvSpPr>
          <p:spPr>
            <a:xfrm rot="16200000">
              <a:off x="363852" y="6186863"/>
              <a:ext cx="411971" cy="492617"/>
            </a:xfrm>
            <a:custGeom>
              <a:avLst/>
              <a:gdLst>
                <a:gd name="connsiteX0" fmla="*/ 182559 w 565444"/>
                <a:gd name="connsiteY0" fmla="*/ 37056 h 676134"/>
                <a:gd name="connsiteX1" fmla="*/ 182559 w 565444"/>
                <a:gd name="connsiteY1" fmla="*/ 175472 h 676134"/>
                <a:gd name="connsiteX2" fmla="*/ 108447 w 565444"/>
                <a:gd name="connsiteY2" fmla="*/ 175472 h 676134"/>
                <a:gd name="connsiteX3" fmla="*/ 108447 w 565444"/>
                <a:gd name="connsiteY3" fmla="*/ 37056 h 676134"/>
                <a:gd name="connsiteX4" fmla="*/ 145503 w 565444"/>
                <a:gd name="connsiteY4" fmla="*/ 0 h 676134"/>
                <a:gd name="connsiteX5" fmla="*/ 182559 w 565444"/>
                <a:gd name="connsiteY5" fmla="*/ 37056 h 676134"/>
                <a:gd name="connsiteX6" fmla="*/ 456997 w 565444"/>
                <a:gd name="connsiteY6" fmla="*/ 37056 h 676134"/>
                <a:gd name="connsiteX7" fmla="*/ 456997 w 565444"/>
                <a:gd name="connsiteY7" fmla="*/ 175472 h 676134"/>
                <a:gd name="connsiteX8" fmla="*/ 382885 w 565444"/>
                <a:gd name="connsiteY8" fmla="*/ 175472 h 676134"/>
                <a:gd name="connsiteX9" fmla="*/ 382885 w 565444"/>
                <a:gd name="connsiteY9" fmla="*/ 37056 h 676134"/>
                <a:gd name="connsiteX10" fmla="*/ 419941 w 565444"/>
                <a:gd name="connsiteY10" fmla="*/ 0 h 676134"/>
                <a:gd name="connsiteX11" fmla="*/ 456997 w 565444"/>
                <a:gd name="connsiteY11" fmla="*/ 37056 h 676134"/>
                <a:gd name="connsiteX12" fmla="*/ 486829 w 565444"/>
                <a:gd name="connsiteY12" fmla="*/ 382985 h 676134"/>
                <a:gd name="connsiteX13" fmla="*/ 483130 w 565444"/>
                <a:gd name="connsiteY13" fmla="*/ 374057 h 676134"/>
                <a:gd name="connsiteX14" fmla="*/ 474202 w 565444"/>
                <a:gd name="connsiteY14" fmla="*/ 370359 h 676134"/>
                <a:gd name="connsiteX15" fmla="*/ 91243 w 565444"/>
                <a:gd name="connsiteY15" fmla="*/ 370358 h 676134"/>
                <a:gd name="connsiteX16" fmla="*/ 78616 w 565444"/>
                <a:gd name="connsiteY16" fmla="*/ 382985 h 676134"/>
                <a:gd name="connsiteX17" fmla="*/ 78615 w 565444"/>
                <a:gd name="connsiteY17" fmla="*/ 382985 h 676134"/>
                <a:gd name="connsiteX18" fmla="*/ 91242 w 565444"/>
                <a:gd name="connsiteY18" fmla="*/ 395612 h 676134"/>
                <a:gd name="connsiteX19" fmla="*/ 474202 w 565444"/>
                <a:gd name="connsiteY19" fmla="*/ 395612 h 676134"/>
                <a:gd name="connsiteX20" fmla="*/ 483130 w 565444"/>
                <a:gd name="connsiteY20" fmla="*/ 391914 h 676134"/>
                <a:gd name="connsiteX21" fmla="*/ 486829 w 565444"/>
                <a:gd name="connsiteY21" fmla="*/ 329550 h 676134"/>
                <a:gd name="connsiteX22" fmla="*/ 483130 w 565444"/>
                <a:gd name="connsiteY22" fmla="*/ 320622 h 676134"/>
                <a:gd name="connsiteX23" fmla="*/ 474202 w 565444"/>
                <a:gd name="connsiteY23" fmla="*/ 316924 h 676134"/>
                <a:gd name="connsiteX24" fmla="*/ 91243 w 565444"/>
                <a:gd name="connsiteY24" fmla="*/ 316923 h 676134"/>
                <a:gd name="connsiteX25" fmla="*/ 78616 w 565444"/>
                <a:gd name="connsiteY25" fmla="*/ 329550 h 676134"/>
                <a:gd name="connsiteX26" fmla="*/ 78615 w 565444"/>
                <a:gd name="connsiteY26" fmla="*/ 329550 h 676134"/>
                <a:gd name="connsiteX27" fmla="*/ 91242 w 565444"/>
                <a:gd name="connsiteY27" fmla="*/ 342177 h 676134"/>
                <a:gd name="connsiteX28" fmla="*/ 474202 w 565444"/>
                <a:gd name="connsiteY28" fmla="*/ 342177 h 676134"/>
                <a:gd name="connsiteX29" fmla="*/ 483130 w 565444"/>
                <a:gd name="connsiteY29" fmla="*/ 338479 h 676134"/>
                <a:gd name="connsiteX30" fmla="*/ 486829 w 565444"/>
                <a:gd name="connsiteY30" fmla="*/ 276115 h 676134"/>
                <a:gd name="connsiteX31" fmla="*/ 483130 w 565444"/>
                <a:gd name="connsiteY31" fmla="*/ 267187 h 676134"/>
                <a:gd name="connsiteX32" fmla="*/ 474202 w 565444"/>
                <a:gd name="connsiteY32" fmla="*/ 263489 h 676134"/>
                <a:gd name="connsiteX33" fmla="*/ 91243 w 565444"/>
                <a:gd name="connsiteY33" fmla="*/ 263488 h 676134"/>
                <a:gd name="connsiteX34" fmla="*/ 78616 w 565444"/>
                <a:gd name="connsiteY34" fmla="*/ 276115 h 676134"/>
                <a:gd name="connsiteX35" fmla="*/ 78615 w 565444"/>
                <a:gd name="connsiteY35" fmla="*/ 276115 h 676134"/>
                <a:gd name="connsiteX36" fmla="*/ 91242 w 565444"/>
                <a:gd name="connsiteY36" fmla="*/ 288742 h 676134"/>
                <a:gd name="connsiteX37" fmla="*/ 474202 w 565444"/>
                <a:gd name="connsiteY37" fmla="*/ 288742 h 676134"/>
                <a:gd name="connsiteX38" fmla="*/ 483130 w 565444"/>
                <a:gd name="connsiteY38" fmla="*/ 285044 h 676134"/>
                <a:gd name="connsiteX39" fmla="*/ 565444 w 565444"/>
                <a:gd name="connsiteY39" fmla="*/ 194687 h 676134"/>
                <a:gd name="connsiteX40" fmla="*/ 546230 w 565444"/>
                <a:gd name="connsiteY40" fmla="*/ 213901 h 676134"/>
                <a:gd name="connsiteX41" fmla="*/ 525276 w 565444"/>
                <a:gd name="connsiteY41" fmla="*/ 213901 h 676134"/>
                <a:gd name="connsiteX42" fmla="*/ 508899 w 565444"/>
                <a:gd name="connsiteY42" fmla="*/ 524387 h 676134"/>
                <a:gd name="connsiteX43" fmla="*/ 378242 w 565444"/>
                <a:gd name="connsiteY43" fmla="*/ 676134 h 676134"/>
                <a:gd name="connsiteX44" fmla="*/ 184454 w 565444"/>
                <a:gd name="connsiteY44" fmla="*/ 676134 h 676134"/>
                <a:gd name="connsiteX45" fmla="*/ 53798 w 565444"/>
                <a:gd name="connsiteY45" fmla="*/ 524387 h 676134"/>
                <a:gd name="connsiteX46" fmla="*/ 37421 w 565444"/>
                <a:gd name="connsiteY46" fmla="*/ 213901 h 676134"/>
                <a:gd name="connsiteX47" fmla="*/ 19214 w 565444"/>
                <a:gd name="connsiteY47" fmla="*/ 213901 h 676134"/>
                <a:gd name="connsiteX48" fmla="*/ 0 w 565444"/>
                <a:gd name="connsiteY48" fmla="*/ 194687 h 676134"/>
                <a:gd name="connsiteX49" fmla="*/ 19214 w 565444"/>
                <a:gd name="connsiteY49" fmla="*/ 175473 h 676134"/>
                <a:gd name="connsiteX50" fmla="*/ 546230 w 565444"/>
                <a:gd name="connsiteY50" fmla="*/ 175473 h 676134"/>
                <a:gd name="connsiteX51" fmla="*/ 565444 w 565444"/>
                <a:gd name="connsiteY51" fmla="*/ 194687 h 676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565444" h="676134">
                  <a:moveTo>
                    <a:pt x="182559" y="37056"/>
                  </a:moveTo>
                  <a:lnTo>
                    <a:pt x="182559" y="175472"/>
                  </a:lnTo>
                  <a:lnTo>
                    <a:pt x="108447" y="175472"/>
                  </a:lnTo>
                  <a:lnTo>
                    <a:pt x="108447" y="37056"/>
                  </a:lnTo>
                  <a:cubicBezTo>
                    <a:pt x="108447" y="16591"/>
                    <a:pt x="125038" y="0"/>
                    <a:pt x="145503" y="0"/>
                  </a:cubicBezTo>
                  <a:cubicBezTo>
                    <a:pt x="165968" y="0"/>
                    <a:pt x="182559" y="16591"/>
                    <a:pt x="182559" y="37056"/>
                  </a:cubicBezTo>
                  <a:close/>
                  <a:moveTo>
                    <a:pt x="456997" y="37056"/>
                  </a:moveTo>
                  <a:lnTo>
                    <a:pt x="456997" y="175472"/>
                  </a:lnTo>
                  <a:lnTo>
                    <a:pt x="382885" y="175472"/>
                  </a:lnTo>
                  <a:lnTo>
                    <a:pt x="382885" y="37056"/>
                  </a:lnTo>
                  <a:cubicBezTo>
                    <a:pt x="382885" y="16591"/>
                    <a:pt x="399476" y="0"/>
                    <a:pt x="419941" y="0"/>
                  </a:cubicBezTo>
                  <a:cubicBezTo>
                    <a:pt x="440406" y="0"/>
                    <a:pt x="456997" y="16591"/>
                    <a:pt x="456997" y="37056"/>
                  </a:cubicBezTo>
                  <a:close/>
                  <a:moveTo>
                    <a:pt x="486829" y="382985"/>
                  </a:moveTo>
                  <a:lnTo>
                    <a:pt x="483130" y="374057"/>
                  </a:lnTo>
                  <a:cubicBezTo>
                    <a:pt x="480845" y="371772"/>
                    <a:pt x="477689" y="370359"/>
                    <a:pt x="474202" y="370359"/>
                  </a:cubicBezTo>
                  <a:lnTo>
                    <a:pt x="91243" y="370358"/>
                  </a:lnTo>
                  <a:cubicBezTo>
                    <a:pt x="84269" y="370358"/>
                    <a:pt x="78616" y="376011"/>
                    <a:pt x="78616" y="382985"/>
                  </a:cubicBezTo>
                  <a:lnTo>
                    <a:pt x="78615" y="382985"/>
                  </a:lnTo>
                  <a:cubicBezTo>
                    <a:pt x="78615" y="389959"/>
                    <a:pt x="84268" y="395612"/>
                    <a:pt x="91242" y="395612"/>
                  </a:cubicBezTo>
                  <a:lnTo>
                    <a:pt x="474202" y="395612"/>
                  </a:lnTo>
                  <a:cubicBezTo>
                    <a:pt x="477689" y="395612"/>
                    <a:pt x="480845" y="394199"/>
                    <a:pt x="483130" y="391914"/>
                  </a:cubicBezTo>
                  <a:close/>
                  <a:moveTo>
                    <a:pt x="486829" y="329550"/>
                  </a:moveTo>
                  <a:lnTo>
                    <a:pt x="483130" y="320622"/>
                  </a:lnTo>
                  <a:cubicBezTo>
                    <a:pt x="480845" y="318337"/>
                    <a:pt x="477689" y="316924"/>
                    <a:pt x="474202" y="316924"/>
                  </a:cubicBezTo>
                  <a:lnTo>
                    <a:pt x="91243" y="316923"/>
                  </a:lnTo>
                  <a:cubicBezTo>
                    <a:pt x="84269" y="316923"/>
                    <a:pt x="78616" y="322576"/>
                    <a:pt x="78616" y="329550"/>
                  </a:cubicBezTo>
                  <a:lnTo>
                    <a:pt x="78615" y="329550"/>
                  </a:lnTo>
                  <a:cubicBezTo>
                    <a:pt x="78615" y="336524"/>
                    <a:pt x="84268" y="342177"/>
                    <a:pt x="91242" y="342177"/>
                  </a:cubicBezTo>
                  <a:lnTo>
                    <a:pt x="474202" y="342177"/>
                  </a:lnTo>
                  <a:cubicBezTo>
                    <a:pt x="477689" y="342177"/>
                    <a:pt x="480845" y="340764"/>
                    <a:pt x="483130" y="338479"/>
                  </a:cubicBezTo>
                  <a:close/>
                  <a:moveTo>
                    <a:pt x="486829" y="276115"/>
                  </a:moveTo>
                  <a:lnTo>
                    <a:pt x="483130" y="267187"/>
                  </a:lnTo>
                  <a:cubicBezTo>
                    <a:pt x="480845" y="264902"/>
                    <a:pt x="477689" y="263489"/>
                    <a:pt x="474202" y="263489"/>
                  </a:cubicBezTo>
                  <a:lnTo>
                    <a:pt x="91243" y="263488"/>
                  </a:lnTo>
                  <a:cubicBezTo>
                    <a:pt x="84269" y="263488"/>
                    <a:pt x="78616" y="269141"/>
                    <a:pt x="78616" y="276115"/>
                  </a:cubicBezTo>
                  <a:lnTo>
                    <a:pt x="78615" y="276115"/>
                  </a:lnTo>
                  <a:cubicBezTo>
                    <a:pt x="78615" y="283089"/>
                    <a:pt x="84268" y="288742"/>
                    <a:pt x="91242" y="288742"/>
                  </a:cubicBezTo>
                  <a:lnTo>
                    <a:pt x="474202" y="288742"/>
                  </a:lnTo>
                  <a:cubicBezTo>
                    <a:pt x="477689" y="288742"/>
                    <a:pt x="480845" y="287329"/>
                    <a:pt x="483130" y="285044"/>
                  </a:cubicBezTo>
                  <a:close/>
                  <a:moveTo>
                    <a:pt x="565444" y="194687"/>
                  </a:moveTo>
                  <a:cubicBezTo>
                    <a:pt x="565444" y="205299"/>
                    <a:pt x="556842" y="213901"/>
                    <a:pt x="546230" y="213901"/>
                  </a:cubicBezTo>
                  <a:lnTo>
                    <a:pt x="525276" y="213901"/>
                  </a:lnTo>
                  <a:lnTo>
                    <a:pt x="508899" y="524387"/>
                  </a:lnTo>
                  <a:cubicBezTo>
                    <a:pt x="504507" y="609787"/>
                    <a:pt x="447139" y="676134"/>
                    <a:pt x="378242" y="676134"/>
                  </a:cubicBezTo>
                  <a:lnTo>
                    <a:pt x="184454" y="676134"/>
                  </a:lnTo>
                  <a:cubicBezTo>
                    <a:pt x="115558" y="676134"/>
                    <a:pt x="58190" y="609787"/>
                    <a:pt x="53798" y="524387"/>
                  </a:cubicBezTo>
                  <a:lnTo>
                    <a:pt x="37421" y="213901"/>
                  </a:lnTo>
                  <a:lnTo>
                    <a:pt x="19214" y="213901"/>
                  </a:lnTo>
                  <a:cubicBezTo>
                    <a:pt x="8602" y="213901"/>
                    <a:pt x="0" y="205299"/>
                    <a:pt x="0" y="194687"/>
                  </a:cubicBezTo>
                  <a:cubicBezTo>
                    <a:pt x="0" y="184075"/>
                    <a:pt x="8602" y="175473"/>
                    <a:pt x="19214" y="175473"/>
                  </a:cubicBezTo>
                  <a:lnTo>
                    <a:pt x="546230" y="175473"/>
                  </a:lnTo>
                  <a:cubicBezTo>
                    <a:pt x="556842" y="175473"/>
                    <a:pt x="565444" y="184075"/>
                    <a:pt x="565444" y="19468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Arrow: Bent 11">
              <a:extLst>
                <a:ext uri="{FF2B5EF4-FFF2-40B4-BE49-F238E27FC236}">
                  <a16:creationId xmlns:a16="http://schemas.microsoft.com/office/drawing/2014/main" id="{4C701790-911F-49B9-B58C-72E9534D4C93}"/>
                </a:ext>
              </a:extLst>
            </p:cNvPr>
            <p:cNvSpPr/>
            <p:nvPr/>
          </p:nvSpPr>
          <p:spPr>
            <a:xfrm flipH="1" flipV="1">
              <a:off x="816143" y="5935877"/>
              <a:ext cx="10779743" cy="582611"/>
            </a:xfrm>
            <a:prstGeom prst="bentArrow">
              <a:avLst>
                <a:gd name="adj1" fmla="val 14113"/>
                <a:gd name="adj2" fmla="val 12152"/>
                <a:gd name="adj3" fmla="val 0"/>
                <a:gd name="adj4" fmla="val 5453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2CAA496-8808-490A-A588-30FACF8CED72}"/>
                </a:ext>
              </a:extLst>
            </p:cNvPr>
            <p:cNvSpPr/>
            <p:nvPr userDrawn="1"/>
          </p:nvSpPr>
          <p:spPr>
            <a:xfrm flipH="1">
              <a:off x="11086249" y="4603539"/>
              <a:ext cx="892078" cy="1332338"/>
            </a:xfrm>
            <a:custGeom>
              <a:avLst/>
              <a:gdLst>
                <a:gd name="connsiteX0" fmla="*/ 501893 w 892078"/>
                <a:gd name="connsiteY0" fmla="*/ 0 h 1332338"/>
                <a:gd name="connsiteX1" fmla="*/ 498205 w 892078"/>
                <a:gd name="connsiteY1" fmla="*/ 53000 h 1332338"/>
                <a:gd name="connsiteX2" fmla="*/ 456830 w 892078"/>
                <a:gd name="connsiteY2" fmla="*/ 120945 h 1332338"/>
                <a:gd name="connsiteX3" fmla="*/ 387912 w 892078"/>
                <a:gd name="connsiteY3" fmla="*/ 218109 h 1332338"/>
                <a:gd name="connsiteX4" fmla="*/ 391667 w 892078"/>
                <a:gd name="connsiteY4" fmla="*/ 334412 h 1332338"/>
                <a:gd name="connsiteX5" fmla="*/ 407219 w 892078"/>
                <a:gd name="connsiteY5" fmla="*/ 351214 h 1332338"/>
                <a:gd name="connsiteX6" fmla="*/ 413637 w 892078"/>
                <a:gd name="connsiteY6" fmla="*/ 474030 h 1332338"/>
                <a:gd name="connsiteX7" fmla="*/ 416812 w 892078"/>
                <a:gd name="connsiteY7" fmla="*/ 504492 h 1332338"/>
                <a:gd name="connsiteX8" fmla="*/ 402754 w 892078"/>
                <a:gd name="connsiteY8" fmla="*/ 505610 h 1332338"/>
                <a:gd name="connsiteX9" fmla="*/ 369924 w 892078"/>
                <a:gd name="connsiteY9" fmla="*/ 475906 h 1332338"/>
                <a:gd name="connsiteX10" fmla="*/ 126043 w 892078"/>
                <a:gd name="connsiteY10" fmla="*/ 282053 h 1332338"/>
                <a:gd name="connsiteX11" fmla="*/ 204209 w 892078"/>
                <a:gd name="connsiteY11" fmla="*/ 408681 h 1332338"/>
                <a:gd name="connsiteX12" fmla="*/ 344910 w 892078"/>
                <a:gd name="connsiteY12" fmla="*/ 500918 h 1332338"/>
                <a:gd name="connsiteX13" fmla="*/ 418387 w 892078"/>
                <a:gd name="connsiteY13" fmla="*/ 565015 h 1332338"/>
                <a:gd name="connsiteX14" fmla="*/ 404318 w 892078"/>
                <a:gd name="connsiteY14" fmla="*/ 841726 h 1332338"/>
                <a:gd name="connsiteX15" fmla="*/ 354290 w 892078"/>
                <a:gd name="connsiteY15" fmla="*/ 830783 h 1332338"/>
                <a:gd name="connsiteX16" fmla="*/ 353526 w 892078"/>
                <a:gd name="connsiteY16" fmla="*/ 831058 h 1332338"/>
                <a:gd name="connsiteX17" fmla="*/ 350580 w 892078"/>
                <a:gd name="connsiteY17" fmla="*/ 827584 h 1332338"/>
                <a:gd name="connsiteX18" fmla="*/ 347061 w 892078"/>
                <a:gd name="connsiteY18" fmla="*/ 800105 h 1332338"/>
                <a:gd name="connsiteX19" fmla="*/ 281402 w 892078"/>
                <a:gd name="connsiteY19" fmla="*/ 603126 h 1332338"/>
                <a:gd name="connsiteX20" fmla="*/ 0 w 892078"/>
                <a:gd name="connsiteY20" fmla="*/ 531211 h 1332338"/>
                <a:gd name="connsiteX21" fmla="*/ 87546 w 892078"/>
                <a:gd name="connsiteY21" fmla="*/ 639081 h 1332338"/>
                <a:gd name="connsiteX22" fmla="*/ 156335 w 892078"/>
                <a:gd name="connsiteY22" fmla="*/ 770401 h 1332338"/>
                <a:gd name="connsiteX23" fmla="*/ 309542 w 892078"/>
                <a:gd name="connsiteY23" fmla="*/ 829808 h 1332338"/>
                <a:gd name="connsiteX24" fmla="*/ 340979 w 892078"/>
                <a:gd name="connsiteY24" fmla="*/ 837942 h 1332338"/>
                <a:gd name="connsiteX25" fmla="*/ 348283 w 892078"/>
                <a:gd name="connsiteY25" fmla="*/ 838787 h 1332338"/>
                <a:gd name="connsiteX26" fmla="*/ 348036 w 892078"/>
                <a:gd name="connsiteY26" fmla="*/ 840162 h 1332338"/>
                <a:gd name="connsiteX27" fmla="*/ 405880 w 892078"/>
                <a:gd name="connsiteY27" fmla="*/ 949596 h 1332338"/>
                <a:gd name="connsiteX28" fmla="*/ 392717 w 892078"/>
                <a:gd name="connsiteY28" fmla="*/ 1332338 h 1332338"/>
                <a:gd name="connsiteX29" fmla="*/ 473368 w 892078"/>
                <a:gd name="connsiteY29" fmla="*/ 1332338 h 1332338"/>
                <a:gd name="connsiteX30" fmla="*/ 463724 w 892078"/>
                <a:gd name="connsiteY30" fmla="*/ 999622 h 1332338"/>
                <a:gd name="connsiteX31" fmla="*/ 476231 w 892078"/>
                <a:gd name="connsiteY31" fmla="*/ 908949 h 1332338"/>
                <a:gd name="connsiteX32" fmla="*/ 523131 w 892078"/>
                <a:gd name="connsiteY32" fmla="*/ 880809 h 1332338"/>
                <a:gd name="connsiteX33" fmla="*/ 827981 w 892078"/>
                <a:gd name="connsiteY33" fmla="*/ 722913 h 1332338"/>
                <a:gd name="connsiteX34" fmla="*/ 892078 w 892078"/>
                <a:gd name="connsiteY34" fmla="*/ 391486 h 1332338"/>
                <a:gd name="connsiteX35" fmla="*/ 671648 w 892078"/>
                <a:gd name="connsiteY35" fmla="*/ 560326 h 1332338"/>
                <a:gd name="connsiteX36" fmla="*/ 535636 w 892078"/>
                <a:gd name="connsiteY36" fmla="*/ 646309 h 1332338"/>
                <a:gd name="connsiteX37" fmla="*/ 480920 w 892078"/>
                <a:gd name="connsiteY37" fmla="*/ 830783 h 1332338"/>
                <a:gd name="connsiteX38" fmla="*/ 448091 w 892078"/>
                <a:gd name="connsiteY38" fmla="*/ 882373 h 1332338"/>
                <a:gd name="connsiteX39" fmla="*/ 448091 w 892078"/>
                <a:gd name="connsiteY39" fmla="*/ 608790 h 1332338"/>
                <a:gd name="connsiteX40" fmla="*/ 513752 w 892078"/>
                <a:gd name="connsiteY40" fmla="*/ 546257 h 1332338"/>
                <a:gd name="connsiteX41" fmla="*/ 582537 w 892078"/>
                <a:gd name="connsiteY41" fmla="*/ 540003 h 1332338"/>
                <a:gd name="connsiteX42" fmla="*/ 748253 w 892078"/>
                <a:gd name="connsiteY42" fmla="*/ 207012 h 1332338"/>
                <a:gd name="connsiteX43" fmla="*/ 596608 w 892078"/>
                <a:gd name="connsiteY43" fmla="*/ 313318 h 1332338"/>
                <a:gd name="connsiteX44" fmla="*/ 451217 w 892078"/>
                <a:gd name="connsiteY44" fmla="*/ 482159 h 1332338"/>
                <a:gd name="connsiteX45" fmla="*/ 445183 w 892078"/>
                <a:gd name="connsiteY45" fmla="*/ 497255 h 1332338"/>
                <a:gd name="connsiteX46" fmla="*/ 439086 w 892078"/>
                <a:gd name="connsiteY46" fmla="*/ 500090 h 1332338"/>
                <a:gd name="connsiteX47" fmla="*/ 435706 w 892078"/>
                <a:gd name="connsiteY47" fmla="*/ 482384 h 1332338"/>
                <a:gd name="connsiteX48" fmla="*/ 420305 w 892078"/>
                <a:gd name="connsiteY48" fmla="*/ 370688 h 1332338"/>
                <a:gd name="connsiteX49" fmla="*/ 426244 w 892078"/>
                <a:gd name="connsiteY49" fmla="*/ 360755 h 1332338"/>
                <a:gd name="connsiteX50" fmla="*/ 485748 w 892078"/>
                <a:gd name="connsiteY50" fmla="*/ 335852 h 1332338"/>
                <a:gd name="connsiteX51" fmla="*/ 556629 w 892078"/>
                <a:gd name="connsiteY51" fmla="*/ 224791 h 1332338"/>
                <a:gd name="connsiteX52" fmla="*/ 533558 w 892078"/>
                <a:gd name="connsiteY52" fmla="*/ 68029 h 1332338"/>
                <a:gd name="connsiteX53" fmla="*/ 501893 w 892078"/>
                <a:gd name="connsiteY53" fmla="*/ 0 h 1332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892078" h="1332338">
                  <a:moveTo>
                    <a:pt x="501893" y="0"/>
                  </a:moveTo>
                  <a:cubicBezTo>
                    <a:pt x="505496" y="20041"/>
                    <a:pt x="503339" y="36518"/>
                    <a:pt x="498205" y="53000"/>
                  </a:cubicBezTo>
                  <a:cubicBezTo>
                    <a:pt x="489909" y="79014"/>
                    <a:pt x="474662" y="101069"/>
                    <a:pt x="456830" y="120945"/>
                  </a:cubicBezTo>
                  <a:cubicBezTo>
                    <a:pt x="430082" y="150759"/>
                    <a:pt x="404129" y="181166"/>
                    <a:pt x="387912" y="218109"/>
                  </a:cubicBezTo>
                  <a:cubicBezTo>
                    <a:pt x="370904" y="257435"/>
                    <a:pt x="367592" y="296342"/>
                    <a:pt x="391667" y="334412"/>
                  </a:cubicBezTo>
                  <a:cubicBezTo>
                    <a:pt x="396044" y="341153"/>
                    <a:pt x="402085" y="346893"/>
                    <a:pt x="407219" y="351214"/>
                  </a:cubicBezTo>
                  <a:cubicBezTo>
                    <a:pt x="406074" y="380095"/>
                    <a:pt x="409823" y="433373"/>
                    <a:pt x="413637" y="474030"/>
                  </a:cubicBezTo>
                  <a:lnTo>
                    <a:pt x="416812" y="504492"/>
                  </a:lnTo>
                  <a:lnTo>
                    <a:pt x="402754" y="505610"/>
                  </a:lnTo>
                  <a:cubicBezTo>
                    <a:pt x="393375" y="507174"/>
                    <a:pt x="371487" y="502482"/>
                    <a:pt x="369924" y="475906"/>
                  </a:cubicBezTo>
                  <a:cubicBezTo>
                    <a:pt x="358979" y="328953"/>
                    <a:pt x="269870" y="258602"/>
                    <a:pt x="126043" y="282053"/>
                  </a:cubicBezTo>
                  <a:cubicBezTo>
                    <a:pt x="168253" y="316446"/>
                    <a:pt x="180759" y="364908"/>
                    <a:pt x="204209" y="408681"/>
                  </a:cubicBezTo>
                  <a:cubicBezTo>
                    <a:pt x="232351" y="463399"/>
                    <a:pt x="265180" y="511863"/>
                    <a:pt x="344910" y="500918"/>
                  </a:cubicBezTo>
                  <a:cubicBezTo>
                    <a:pt x="371487" y="496228"/>
                    <a:pt x="423077" y="507174"/>
                    <a:pt x="418387" y="565015"/>
                  </a:cubicBezTo>
                  <a:cubicBezTo>
                    <a:pt x="412133" y="655690"/>
                    <a:pt x="409008" y="747925"/>
                    <a:pt x="404318" y="841726"/>
                  </a:cubicBezTo>
                  <a:cubicBezTo>
                    <a:pt x="387119" y="838598"/>
                    <a:pt x="371487" y="833909"/>
                    <a:pt x="354290" y="830783"/>
                  </a:cubicBezTo>
                  <a:lnTo>
                    <a:pt x="353526" y="831058"/>
                  </a:lnTo>
                  <a:lnTo>
                    <a:pt x="350580" y="827584"/>
                  </a:lnTo>
                  <a:cubicBezTo>
                    <a:pt x="345889" y="820623"/>
                    <a:pt x="344717" y="813002"/>
                    <a:pt x="347061" y="800105"/>
                  </a:cubicBezTo>
                  <a:cubicBezTo>
                    <a:pt x="362694" y="723500"/>
                    <a:pt x="339244" y="656278"/>
                    <a:pt x="281402" y="603126"/>
                  </a:cubicBezTo>
                  <a:cubicBezTo>
                    <a:pt x="218869" y="545282"/>
                    <a:pt x="87546" y="512451"/>
                    <a:pt x="0" y="531211"/>
                  </a:cubicBezTo>
                  <a:cubicBezTo>
                    <a:pt x="43773" y="554661"/>
                    <a:pt x="68787" y="595308"/>
                    <a:pt x="87546" y="639081"/>
                  </a:cubicBezTo>
                  <a:cubicBezTo>
                    <a:pt x="106307" y="684418"/>
                    <a:pt x="123503" y="731318"/>
                    <a:pt x="156335" y="770401"/>
                  </a:cubicBezTo>
                  <a:cubicBezTo>
                    <a:pt x="196980" y="818865"/>
                    <a:pt x="240755" y="856384"/>
                    <a:pt x="309542" y="829808"/>
                  </a:cubicBezTo>
                  <a:cubicBezTo>
                    <a:pt x="322440" y="823945"/>
                    <a:pt x="330940" y="833912"/>
                    <a:pt x="340979" y="837942"/>
                  </a:cubicBezTo>
                  <a:lnTo>
                    <a:pt x="348283" y="838787"/>
                  </a:lnTo>
                  <a:lnTo>
                    <a:pt x="348036" y="840162"/>
                  </a:lnTo>
                  <a:cubicBezTo>
                    <a:pt x="404318" y="857359"/>
                    <a:pt x="409008" y="898006"/>
                    <a:pt x="405880" y="949596"/>
                  </a:cubicBezTo>
                  <a:lnTo>
                    <a:pt x="392717" y="1332338"/>
                  </a:lnTo>
                  <a:lnTo>
                    <a:pt x="473368" y="1332338"/>
                  </a:lnTo>
                  <a:lnTo>
                    <a:pt x="463724" y="999622"/>
                  </a:lnTo>
                  <a:cubicBezTo>
                    <a:pt x="463724" y="968357"/>
                    <a:pt x="463724" y="938653"/>
                    <a:pt x="476231" y="908949"/>
                  </a:cubicBezTo>
                  <a:cubicBezTo>
                    <a:pt x="485610" y="887063"/>
                    <a:pt x="490302" y="874556"/>
                    <a:pt x="523131" y="880809"/>
                  </a:cubicBezTo>
                  <a:cubicBezTo>
                    <a:pt x="652888" y="904260"/>
                    <a:pt x="767011" y="840162"/>
                    <a:pt x="827981" y="722913"/>
                  </a:cubicBezTo>
                  <a:cubicBezTo>
                    <a:pt x="878009" y="624423"/>
                    <a:pt x="884261" y="516553"/>
                    <a:pt x="892078" y="391486"/>
                  </a:cubicBezTo>
                  <a:cubicBezTo>
                    <a:pt x="840488" y="494664"/>
                    <a:pt x="756068" y="525932"/>
                    <a:pt x="671648" y="560326"/>
                  </a:cubicBezTo>
                  <a:cubicBezTo>
                    <a:pt x="621620" y="580648"/>
                    <a:pt x="573158" y="607226"/>
                    <a:pt x="535636" y="646309"/>
                  </a:cubicBezTo>
                  <a:cubicBezTo>
                    <a:pt x="485610" y="697899"/>
                    <a:pt x="448091" y="754179"/>
                    <a:pt x="480920" y="830783"/>
                  </a:cubicBezTo>
                  <a:cubicBezTo>
                    <a:pt x="488738" y="849542"/>
                    <a:pt x="477793" y="868302"/>
                    <a:pt x="448091" y="882373"/>
                  </a:cubicBezTo>
                  <a:cubicBezTo>
                    <a:pt x="448091" y="787008"/>
                    <a:pt x="448091" y="697899"/>
                    <a:pt x="448091" y="608790"/>
                  </a:cubicBezTo>
                  <a:cubicBezTo>
                    <a:pt x="448091" y="565015"/>
                    <a:pt x="455908" y="533749"/>
                    <a:pt x="513752" y="546257"/>
                  </a:cubicBezTo>
                  <a:cubicBezTo>
                    <a:pt x="535636" y="550946"/>
                    <a:pt x="559087" y="546257"/>
                    <a:pt x="582537" y="540003"/>
                  </a:cubicBezTo>
                  <a:cubicBezTo>
                    <a:pt x="701352" y="504046"/>
                    <a:pt x="779518" y="347712"/>
                    <a:pt x="748253" y="207012"/>
                  </a:cubicBezTo>
                  <a:cubicBezTo>
                    <a:pt x="716985" y="269546"/>
                    <a:pt x="652888" y="285178"/>
                    <a:pt x="596608" y="313318"/>
                  </a:cubicBezTo>
                  <a:cubicBezTo>
                    <a:pt x="524693" y="349275"/>
                    <a:pt x="454344" y="386797"/>
                    <a:pt x="451217" y="482159"/>
                  </a:cubicBezTo>
                  <a:cubicBezTo>
                    <a:pt x="450826" y="489194"/>
                    <a:pt x="448579" y="493982"/>
                    <a:pt x="445183" y="497255"/>
                  </a:cubicBezTo>
                  <a:lnTo>
                    <a:pt x="439086" y="500090"/>
                  </a:lnTo>
                  <a:lnTo>
                    <a:pt x="435706" y="482384"/>
                  </a:lnTo>
                  <a:cubicBezTo>
                    <a:pt x="429401" y="445321"/>
                    <a:pt x="420625" y="384681"/>
                    <a:pt x="420305" y="370688"/>
                  </a:cubicBezTo>
                  <a:cubicBezTo>
                    <a:pt x="420100" y="366322"/>
                    <a:pt x="417511" y="361166"/>
                    <a:pt x="426244" y="360755"/>
                  </a:cubicBezTo>
                  <a:cubicBezTo>
                    <a:pt x="449067" y="359727"/>
                    <a:pt x="467310" y="348584"/>
                    <a:pt x="485748" y="335852"/>
                  </a:cubicBezTo>
                  <a:cubicBezTo>
                    <a:pt x="524607" y="308401"/>
                    <a:pt x="549757" y="272437"/>
                    <a:pt x="556629" y="224791"/>
                  </a:cubicBezTo>
                  <a:cubicBezTo>
                    <a:pt x="564085" y="170396"/>
                    <a:pt x="553286" y="118213"/>
                    <a:pt x="533558" y="68029"/>
                  </a:cubicBezTo>
                  <a:cubicBezTo>
                    <a:pt x="524789" y="45615"/>
                    <a:pt x="518004" y="22205"/>
                    <a:pt x="501893" y="0"/>
                  </a:cubicBezTo>
                  <a:close/>
                </a:path>
              </a:pathLst>
            </a:custGeom>
            <a:grpFill/>
            <a:ln w="808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918721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4524873-6BE5-4879-B50F-EC3ECF1F2BA1}"/>
              </a:ext>
            </a:extLst>
          </p:cNvPr>
          <p:cNvSpPr/>
          <p:nvPr userDrawn="1"/>
        </p:nvSpPr>
        <p:spPr>
          <a:xfrm>
            <a:off x="0" y="0"/>
            <a:ext cx="12192000" cy="121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9DB7680-BCD7-4C1B-97B4-C82E082C47C2}"/>
              </a:ext>
            </a:extLst>
          </p:cNvPr>
          <p:cNvGrpSpPr/>
          <p:nvPr userDrawn="1"/>
        </p:nvGrpSpPr>
        <p:grpSpPr>
          <a:xfrm>
            <a:off x="623567" y="-9292"/>
            <a:ext cx="2434936" cy="1219200"/>
            <a:chOff x="623567" y="20852"/>
            <a:chExt cx="2434936" cy="12192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0C6E2EE-321A-47CB-9B17-01A6C7F54C53}"/>
                </a:ext>
              </a:extLst>
            </p:cNvPr>
            <p:cNvSpPr/>
            <p:nvPr userDrawn="1"/>
          </p:nvSpPr>
          <p:spPr>
            <a:xfrm>
              <a:off x="1538287" y="20852"/>
              <a:ext cx="704850" cy="1219200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81EE286-F844-4771-9CFC-94BF60D78565}"/>
                </a:ext>
              </a:extLst>
            </p:cNvPr>
            <p:cNvSpPr/>
            <p:nvPr userDrawn="1"/>
          </p:nvSpPr>
          <p:spPr>
            <a:xfrm>
              <a:off x="2161853" y="284463"/>
              <a:ext cx="552450" cy="9555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19794EC-70B7-4CA7-B86F-B7DD5B250116}"/>
                </a:ext>
              </a:extLst>
            </p:cNvPr>
            <p:cNvSpPr/>
            <p:nvPr userDrawn="1"/>
          </p:nvSpPr>
          <p:spPr>
            <a:xfrm>
              <a:off x="1378101" y="436863"/>
              <a:ext cx="464344" cy="8031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5923C14-7C77-40CC-82DB-9E1F4A7524AB}"/>
                </a:ext>
              </a:extLst>
            </p:cNvPr>
            <p:cNvSpPr/>
            <p:nvPr userDrawn="1"/>
          </p:nvSpPr>
          <p:spPr>
            <a:xfrm>
              <a:off x="745171" y="282011"/>
              <a:ext cx="553868" cy="958041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5BE877-79E4-493D-8CCE-9682FE0748AA}"/>
                </a:ext>
              </a:extLst>
            </p:cNvPr>
            <p:cNvSpPr/>
            <p:nvPr userDrawn="1"/>
          </p:nvSpPr>
          <p:spPr>
            <a:xfrm>
              <a:off x="623567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2FD92A-CC13-4DFD-A85C-8CE910B21828}"/>
                </a:ext>
              </a:extLst>
            </p:cNvPr>
            <p:cNvSpPr/>
            <p:nvPr userDrawn="1"/>
          </p:nvSpPr>
          <p:spPr>
            <a:xfrm>
              <a:off x="1235073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C05787A-C43E-453A-BE07-3D337B74A2E0}"/>
                </a:ext>
              </a:extLst>
            </p:cNvPr>
            <p:cNvSpPr/>
            <p:nvPr userDrawn="1"/>
          </p:nvSpPr>
          <p:spPr>
            <a:xfrm>
              <a:off x="2674902" y="576526"/>
              <a:ext cx="383601" cy="663526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A36D23-48BD-4BA3-8545-A3920D835DF4}"/>
              </a:ext>
            </a:extLst>
          </p:cNvPr>
          <p:cNvGrpSpPr/>
          <p:nvPr userDrawn="1"/>
        </p:nvGrpSpPr>
        <p:grpSpPr>
          <a:xfrm flipH="1">
            <a:off x="9757064" y="5636998"/>
            <a:ext cx="2434936" cy="1240052"/>
            <a:chOff x="328292" y="0"/>
            <a:chExt cx="2434936" cy="1240052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22CDA6-66B0-4261-8AAB-F61537EBC5C1}"/>
                </a:ext>
              </a:extLst>
            </p:cNvPr>
            <p:cNvSpPr/>
            <p:nvPr userDrawn="1"/>
          </p:nvSpPr>
          <p:spPr>
            <a:xfrm>
              <a:off x="1243012" y="0"/>
              <a:ext cx="704850" cy="1219200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9E29A8A-7472-4C7B-B2D8-F2CA911113E6}"/>
                </a:ext>
              </a:extLst>
            </p:cNvPr>
            <p:cNvSpPr/>
            <p:nvPr userDrawn="1"/>
          </p:nvSpPr>
          <p:spPr>
            <a:xfrm>
              <a:off x="1866578" y="263611"/>
              <a:ext cx="552450" cy="9555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F2D5BA9-02F0-4EBF-8047-65342716CF01}"/>
                </a:ext>
              </a:extLst>
            </p:cNvPr>
            <p:cNvSpPr/>
            <p:nvPr userDrawn="1"/>
          </p:nvSpPr>
          <p:spPr>
            <a:xfrm>
              <a:off x="1082826" y="422492"/>
              <a:ext cx="464344" cy="8031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4CD11AB-8BFB-424D-B3CC-4FEB6AB5C821}"/>
                </a:ext>
              </a:extLst>
            </p:cNvPr>
            <p:cNvSpPr/>
            <p:nvPr userDrawn="1"/>
          </p:nvSpPr>
          <p:spPr>
            <a:xfrm>
              <a:off x="449896" y="280904"/>
              <a:ext cx="553868" cy="958041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B82DE08-397D-4848-B109-C55EEF52BDA4}"/>
                </a:ext>
              </a:extLst>
            </p:cNvPr>
            <p:cNvSpPr/>
            <p:nvPr userDrawn="1"/>
          </p:nvSpPr>
          <p:spPr>
            <a:xfrm>
              <a:off x="328292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9598C0A-7EE6-4767-B149-6F044CB9FD7B}"/>
                </a:ext>
              </a:extLst>
            </p:cNvPr>
            <p:cNvSpPr/>
            <p:nvPr userDrawn="1"/>
          </p:nvSpPr>
          <p:spPr>
            <a:xfrm>
              <a:off x="939798" y="608493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36E712-C4F3-4B0A-8585-2B8D1DBCB0CC}"/>
                </a:ext>
              </a:extLst>
            </p:cNvPr>
            <p:cNvSpPr/>
            <p:nvPr userDrawn="1"/>
          </p:nvSpPr>
          <p:spPr>
            <a:xfrm>
              <a:off x="2379627" y="555674"/>
              <a:ext cx="383601" cy="663526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758FE55-F2E3-411E-B08B-7BB726147569}"/>
              </a:ext>
            </a:extLst>
          </p:cNvPr>
          <p:cNvSpPr/>
          <p:nvPr userDrawn="1"/>
        </p:nvSpPr>
        <p:spPr>
          <a:xfrm>
            <a:off x="0" y="6359791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8BD529C-F177-4014-858A-48426744683D}"/>
              </a:ext>
            </a:extLst>
          </p:cNvPr>
          <p:cNvSpPr/>
          <p:nvPr userDrawn="1"/>
        </p:nvSpPr>
        <p:spPr>
          <a:xfrm>
            <a:off x="0" y="6512191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9A4EDC-BC81-48B2-A5D1-5C42D2143CB0}"/>
              </a:ext>
            </a:extLst>
          </p:cNvPr>
          <p:cNvSpPr/>
          <p:nvPr userDrawn="1"/>
        </p:nvSpPr>
        <p:spPr>
          <a:xfrm>
            <a:off x="0" y="6664591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630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1" y="6363084"/>
            <a:ext cx="2759459" cy="50405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E14152FF-DC6B-45AE-BE1D-F8C7C1D99650}"/>
              </a:ext>
            </a:extLst>
          </p:cNvPr>
          <p:cNvSpPr/>
          <p:nvPr userDrawn="1"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2316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60DE4DB8-95B1-490C-9ADC-E0A3E777B4A5}"/>
              </a:ext>
            </a:extLst>
          </p:cNvPr>
          <p:cNvSpPr/>
          <p:nvPr userDrawn="1"/>
        </p:nvSpPr>
        <p:spPr>
          <a:xfrm>
            <a:off x="419100" y="490537"/>
            <a:ext cx="8429625" cy="5876925"/>
          </a:xfrm>
          <a:prstGeom prst="roundRect">
            <a:avLst>
              <a:gd name="adj" fmla="val 4836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700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9DA522A-2DEF-4520-8803-18075D5AFB6D}"/>
              </a:ext>
            </a:extLst>
          </p:cNvPr>
          <p:cNvSpPr/>
          <p:nvPr userDrawn="1"/>
        </p:nvSpPr>
        <p:spPr>
          <a:xfrm>
            <a:off x="405725" y="347409"/>
            <a:ext cx="11380551" cy="6163182"/>
          </a:xfrm>
          <a:prstGeom prst="roundRect">
            <a:avLst>
              <a:gd name="adj" fmla="val 3889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873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72143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>
            <a:extLst>
              <a:ext uri="{FF2B5EF4-FFF2-40B4-BE49-F238E27FC236}">
                <a16:creationId xmlns:a16="http://schemas.microsoft.com/office/drawing/2014/main" id="{B75548DB-9145-4C14-977F-BF3E634F8427}"/>
              </a:ext>
            </a:extLst>
          </p:cNvPr>
          <p:cNvSpPr/>
          <p:nvPr userDrawn="1"/>
        </p:nvSpPr>
        <p:spPr>
          <a:xfrm>
            <a:off x="3857624" y="601907"/>
            <a:ext cx="7771585" cy="5654186"/>
          </a:xfrm>
          <a:prstGeom prst="rect">
            <a:avLst/>
          </a:prstGeom>
          <a:solidFill>
            <a:schemeClr val="bg1">
              <a:alpha val="40000"/>
            </a:schemeClr>
          </a:solidFill>
          <a:ln w="9525">
            <a:noFill/>
          </a:ln>
          <a:effectLst>
            <a:glow rad="76200">
              <a:schemeClr val="bg1">
                <a:alpha val="13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E1BB11-CE0C-4E0F-902B-E0070B16AAE6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268565" y="783486"/>
            <a:ext cx="2160000" cy="2664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37E444D-D0F8-454F-BC8D-5B07A2464039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694434" y="783486"/>
            <a:ext cx="2160000" cy="2664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017A26C-1F87-42E7-AD5B-9E66527C1297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4120304" y="783486"/>
            <a:ext cx="2160000" cy="26647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44207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>
            <a:extLst>
              <a:ext uri="{FF2B5EF4-FFF2-40B4-BE49-F238E27FC236}">
                <a16:creationId xmlns:a16="http://schemas.microsoft.com/office/drawing/2014/main" id="{625B0107-851D-4EFD-ADEF-5CE8AE8B6C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92727" y="79848"/>
            <a:ext cx="960000" cy="960000"/>
          </a:xfrm>
          <a:prstGeom prst="rect">
            <a:avLst/>
          </a:prstGeom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537189D2-8C18-4A39-905D-C2E8D0813B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103619" y="96000"/>
            <a:ext cx="960000" cy="960000"/>
          </a:xfrm>
          <a:prstGeom prst="rect">
            <a:avLst/>
          </a:prstGeom>
        </p:spPr>
      </p:pic>
      <p:sp>
        <p:nvSpPr>
          <p:cNvPr id="19" name="文字方塊 18">
            <a:extLst>
              <a:ext uri="{FF2B5EF4-FFF2-40B4-BE49-F238E27FC236}">
                <a16:creationId xmlns:a16="http://schemas.microsoft.com/office/drawing/2014/main" id="{F63D9FE9-12FF-4799-ACE7-F7B66DCC4D4D}"/>
              </a:ext>
            </a:extLst>
          </p:cNvPr>
          <p:cNvSpPr txBox="1"/>
          <p:nvPr userDrawn="1"/>
        </p:nvSpPr>
        <p:spPr>
          <a:xfrm>
            <a:off x="10790046" y="96000"/>
            <a:ext cx="430887" cy="913070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TW" altLang="en-US" sz="1600" b="1" dirty="0"/>
              <a:t>小組會議</a:t>
            </a: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EB27374A-9ECB-499A-B48C-39420DBC23B4}"/>
              </a:ext>
            </a:extLst>
          </p:cNvPr>
          <p:cNvSpPr txBox="1"/>
          <p:nvPr userDrawn="1"/>
        </p:nvSpPr>
        <p:spPr>
          <a:xfrm>
            <a:off x="9463264" y="96000"/>
            <a:ext cx="430887" cy="943848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TW" altLang="en-US" sz="1600" b="1" dirty="0"/>
              <a:t>期中審查</a:t>
            </a:r>
          </a:p>
        </p:txBody>
      </p:sp>
    </p:spTree>
    <p:extLst>
      <p:ext uri="{BB962C8B-B14F-4D97-AF65-F5344CB8AC3E}">
        <p14:creationId xmlns:p14="http://schemas.microsoft.com/office/powerpoint/2010/main" val="4161694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제목 1"/>
          <p:cNvSpPr>
            <a:spLocks noGrp="1"/>
          </p:cNvSpPr>
          <p:nvPr>
            <p:ph type="title" hasCustomPrompt="1"/>
          </p:nvPr>
        </p:nvSpPr>
        <p:spPr>
          <a:xfrm>
            <a:off x="640592" y="238552"/>
            <a:ext cx="5568619" cy="165618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IMAGES AND CONTENTS</a:t>
            </a:r>
            <a:endParaRPr lang="ko-KR" altLang="en-US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724525" y="0"/>
            <a:ext cx="64674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92051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95B8CE5-8DE7-4B1E-A438-23286B4532FA}"/>
              </a:ext>
            </a:extLst>
          </p:cNvPr>
          <p:cNvSpPr/>
          <p:nvPr userDrawn="1"/>
        </p:nvSpPr>
        <p:spPr>
          <a:xfrm>
            <a:off x="0" y="0"/>
            <a:ext cx="3780890" cy="6858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70290CC-81EF-4E15-9C76-9825C872E73D}"/>
              </a:ext>
            </a:extLst>
          </p:cNvPr>
          <p:cNvSpPr/>
          <p:nvPr userDrawn="1"/>
        </p:nvSpPr>
        <p:spPr>
          <a:xfrm>
            <a:off x="67749" y="2190042"/>
            <a:ext cx="1825371" cy="4705764"/>
          </a:xfrm>
          <a:custGeom>
            <a:avLst/>
            <a:gdLst>
              <a:gd name="connsiteX0" fmla="*/ 15747 w 1825371"/>
              <a:gd name="connsiteY0" fmla="*/ 1352 h 3047785"/>
              <a:gd name="connsiteX1" fmla="*/ 83062 w 1825371"/>
              <a:gd name="connsiteY1" fmla="*/ 34837 h 3047785"/>
              <a:gd name="connsiteX2" fmla="*/ 961270 w 1825371"/>
              <a:gd name="connsiteY2" fmla="*/ 755975 h 3047785"/>
              <a:gd name="connsiteX3" fmla="*/ 1239162 w 1825371"/>
              <a:gd name="connsiteY3" fmla="*/ 1001764 h 3047785"/>
              <a:gd name="connsiteX4" fmla="*/ 1276445 w 1825371"/>
              <a:gd name="connsiteY4" fmla="*/ 1025928 h 3047785"/>
              <a:gd name="connsiteX5" fmla="*/ 1316489 w 1825371"/>
              <a:gd name="connsiteY5" fmla="*/ 1009704 h 3047785"/>
              <a:gd name="connsiteX6" fmla="*/ 1345141 w 1825371"/>
              <a:gd name="connsiteY6" fmla="*/ 948602 h 3047785"/>
              <a:gd name="connsiteX7" fmla="*/ 1407624 w 1825371"/>
              <a:gd name="connsiteY7" fmla="*/ 869894 h 3047785"/>
              <a:gd name="connsiteX8" fmla="*/ 1749379 w 1825371"/>
              <a:gd name="connsiteY8" fmla="*/ 590967 h 3047785"/>
              <a:gd name="connsiteX9" fmla="*/ 1808066 w 1825371"/>
              <a:gd name="connsiteY9" fmla="*/ 545399 h 3047785"/>
              <a:gd name="connsiteX10" fmla="*/ 1825326 w 1825371"/>
              <a:gd name="connsiteY10" fmla="*/ 554375 h 3047785"/>
              <a:gd name="connsiteX11" fmla="*/ 1811172 w 1825371"/>
              <a:gd name="connsiteY11" fmla="*/ 590277 h 3047785"/>
              <a:gd name="connsiteX12" fmla="*/ 1721073 w 1825371"/>
              <a:gd name="connsiteY12" fmla="*/ 698326 h 3047785"/>
              <a:gd name="connsiteX13" fmla="*/ 1385877 w 1825371"/>
              <a:gd name="connsiteY13" fmla="*/ 1068389 h 3047785"/>
              <a:gd name="connsiteX14" fmla="*/ 1376211 w 1825371"/>
              <a:gd name="connsiteY14" fmla="*/ 1098421 h 3047785"/>
              <a:gd name="connsiteX15" fmla="*/ 1361366 w 1825371"/>
              <a:gd name="connsiteY15" fmla="*/ 1135359 h 3047785"/>
              <a:gd name="connsiteX16" fmla="*/ 1355153 w 1825371"/>
              <a:gd name="connsiteY16" fmla="*/ 1169879 h 3047785"/>
              <a:gd name="connsiteX17" fmla="*/ 1409696 w 1825371"/>
              <a:gd name="connsiteY17" fmla="*/ 1384253 h 3047785"/>
              <a:gd name="connsiteX18" fmla="*/ 1524994 w 1825371"/>
              <a:gd name="connsiteY18" fmla="*/ 1739817 h 3047785"/>
              <a:gd name="connsiteX19" fmla="*/ 1659971 w 1825371"/>
              <a:gd name="connsiteY19" fmla="*/ 2199288 h 3047785"/>
              <a:gd name="connsiteX20" fmla="*/ 1782864 w 1825371"/>
              <a:gd name="connsiteY20" fmla="*/ 2697077 h 3047785"/>
              <a:gd name="connsiteX21" fmla="*/ 1794257 w 1825371"/>
              <a:gd name="connsiteY21" fmla="*/ 2767845 h 3047785"/>
              <a:gd name="connsiteX22" fmla="*/ 1791840 w 1825371"/>
              <a:gd name="connsiteY22" fmla="*/ 2778202 h 3047785"/>
              <a:gd name="connsiteX23" fmla="*/ 1784245 w 1825371"/>
              <a:gd name="connsiteY23" fmla="*/ 2770607 h 3047785"/>
              <a:gd name="connsiteX24" fmla="*/ 1746617 w 1825371"/>
              <a:gd name="connsiteY24" fmla="*/ 2660831 h 3047785"/>
              <a:gd name="connsiteX25" fmla="*/ 1513602 w 1825371"/>
              <a:gd name="connsiteY25" fmla="*/ 1875484 h 3047785"/>
              <a:gd name="connsiteX26" fmla="*/ 1297158 w 1825371"/>
              <a:gd name="connsiteY26" fmla="*/ 1267919 h 3047785"/>
              <a:gd name="connsiteX27" fmla="*/ 1275064 w 1825371"/>
              <a:gd name="connsiteY27" fmla="*/ 1217173 h 3047785"/>
              <a:gd name="connsiteX28" fmla="*/ 1248483 w 1825371"/>
              <a:gd name="connsiteY28" fmla="*/ 1193353 h 3047785"/>
              <a:gd name="connsiteX29" fmla="*/ 1232949 w 1825371"/>
              <a:gd name="connsiteY29" fmla="*/ 1222351 h 3047785"/>
              <a:gd name="connsiteX30" fmla="*/ 1230877 w 1825371"/>
              <a:gd name="connsiteY30" fmla="*/ 1283108 h 3047785"/>
              <a:gd name="connsiteX31" fmla="*/ 1243305 w 1825371"/>
              <a:gd name="connsiteY31" fmla="*/ 1522336 h 3047785"/>
              <a:gd name="connsiteX32" fmla="*/ 1261256 w 1825371"/>
              <a:gd name="connsiteY32" fmla="*/ 1854772 h 3047785"/>
              <a:gd name="connsiteX33" fmla="*/ 1272647 w 1825371"/>
              <a:gd name="connsiteY33" fmla="*/ 2086061 h 3047785"/>
              <a:gd name="connsiteX34" fmla="*/ 1288528 w 1825371"/>
              <a:gd name="connsiteY34" fmla="*/ 2674639 h 3047785"/>
              <a:gd name="connsiteX35" fmla="*/ 1297493 w 1825371"/>
              <a:gd name="connsiteY35" fmla="*/ 3047785 h 3047785"/>
              <a:gd name="connsiteX36" fmla="*/ 1048951 w 1825371"/>
              <a:gd name="connsiteY36" fmla="*/ 3047785 h 3047785"/>
              <a:gd name="connsiteX37" fmla="*/ 1053441 w 1825371"/>
              <a:gd name="connsiteY37" fmla="*/ 2920082 h 3047785"/>
              <a:gd name="connsiteX38" fmla="*/ 1066213 w 1825371"/>
              <a:gd name="connsiteY38" fmla="*/ 2573839 h 3047785"/>
              <a:gd name="connsiteX39" fmla="*/ 1077951 w 1825371"/>
              <a:gd name="connsiteY39" fmla="*/ 2236916 h 3047785"/>
              <a:gd name="connsiteX40" fmla="*/ 1093485 w 1825371"/>
              <a:gd name="connsiteY40" fmla="*/ 1882733 h 3047785"/>
              <a:gd name="connsiteX41" fmla="*/ 1107983 w 1825371"/>
              <a:gd name="connsiteY41" fmla="*/ 1608293 h 3047785"/>
              <a:gd name="connsiteX42" fmla="*/ 1125245 w 1825371"/>
              <a:gd name="connsiteY42" fmla="*/ 1293464 h 3047785"/>
              <a:gd name="connsiteX43" fmla="*/ 1096247 w 1825371"/>
              <a:gd name="connsiteY43" fmla="*/ 1270681 h 3047785"/>
              <a:gd name="connsiteX44" fmla="*/ 984400 w 1825371"/>
              <a:gd name="connsiteY44" fmla="*/ 1242374 h 3047785"/>
              <a:gd name="connsiteX45" fmla="*/ 977149 w 1825371"/>
              <a:gd name="connsiteY45" fmla="*/ 1225458 h 3047785"/>
              <a:gd name="connsiteX46" fmla="*/ 983019 w 1825371"/>
              <a:gd name="connsiteY46" fmla="*/ 1189902 h 3047785"/>
              <a:gd name="connsiteX47" fmla="*/ 1016158 w 1825371"/>
              <a:gd name="connsiteY47" fmla="*/ 1097041 h 3047785"/>
              <a:gd name="connsiteX48" fmla="*/ 1055513 w 1825371"/>
              <a:gd name="connsiteY48" fmla="*/ 1078055 h 3047785"/>
              <a:gd name="connsiteX49" fmla="*/ 1097628 w 1825371"/>
              <a:gd name="connsiteY49" fmla="*/ 1104290 h 3047785"/>
              <a:gd name="connsiteX50" fmla="*/ 1115579 w 1825371"/>
              <a:gd name="connsiteY50" fmla="*/ 1107743 h 3047785"/>
              <a:gd name="connsiteX51" fmla="*/ 1177026 w 1825371"/>
              <a:gd name="connsiteY51" fmla="*/ 1087375 h 3047785"/>
              <a:gd name="connsiteX52" fmla="*/ 1179787 w 1825371"/>
              <a:gd name="connsiteY52" fmla="*/ 1073913 h 3047785"/>
              <a:gd name="connsiteX53" fmla="*/ 1135255 w 1825371"/>
              <a:gd name="connsiteY53" fmla="*/ 1041117 h 3047785"/>
              <a:gd name="connsiteX54" fmla="*/ 939868 w 1825371"/>
              <a:gd name="connsiteY54" fmla="*/ 883702 h 3047785"/>
              <a:gd name="connsiteX55" fmla="*/ 549783 w 1825371"/>
              <a:gd name="connsiteY55" fmla="*/ 496379 h 3047785"/>
              <a:gd name="connsiteX56" fmla="*/ 40947 w 1825371"/>
              <a:gd name="connsiteY56" fmla="*/ 48990 h 3047785"/>
              <a:gd name="connsiteX57" fmla="*/ 5735 w 1825371"/>
              <a:gd name="connsiteY57" fmla="*/ 17231 h 3047785"/>
              <a:gd name="connsiteX58" fmla="*/ 902 w 1825371"/>
              <a:gd name="connsiteY58" fmla="*/ 4114 h 3047785"/>
              <a:gd name="connsiteX59" fmla="*/ 15747 w 1825371"/>
              <a:gd name="connsiteY59" fmla="*/ 1352 h 3047785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3047785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4685667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97493 w 1825371"/>
              <a:gd name="connsiteY34" fmla="*/ 4685667 h 4705763"/>
              <a:gd name="connsiteX35" fmla="*/ 938419 w 1825371"/>
              <a:gd name="connsiteY35" fmla="*/ 4705763 h 4705763"/>
              <a:gd name="connsiteX36" fmla="*/ 1053441 w 1825371"/>
              <a:gd name="connsiteY36" fmla="*/ 2920082 h 4705763"/>
              <a:gd name="connsiteX37" fmla="*/ 1066213 w 1825371"/>
              <a:gd name="connsiteY37" fmla="*/ 2573839 h 4705763"/>
              <a:gd name="connsiteX38" fmla="*/ 1077951 w 1825371"/>
              <a:gd name="connsiteY38" fmla="*/ 2236916 h 4705763"/>
              <a:gd name="connsiteX39" fmla="*/ 1093485 w 1825371"/>
              <a:gd name="connsiteY39" fmla="*/ 1882733 h 4705763"/>
              <a:gd name="connsiteX40" fmla="*/ 1107983 w 1825371"/>
              <a:gd name="connsiteY40" fmla="*/ 1608293 h 4705763"/>
              <a:gd name="connsiteX41" fmla="*/ 1125245 w 1825371"/>
              <a:gd name="connsiteY41" fmla="*/ 1293464 h 4705763"/>
              <a:gd name="connsiteX42" fmla="*/ 1096247 w 1825371"/>
              <a:gd name="connsiteY42" fmla="*/ 1270681 h 4705763"/>
              <a:gd name="connsiteX43" fmla="*/ 984400 w 1825371"/>
              <a:gd name="connsiteY43" fmla="*/ 1242374 h 4705763"/>
              <a:gd name="connsiteX44" fmla="*/ 977149 w 1825371"/>
              <a:gd name="connsiteY44" fmla="*/ 1225458 h 4705763"/>
              <a:gd name="connsiteX45" fmla="*/ 983019 w 1825371"/>
              <a:gd name="connsiteY45" fmla="*/ 1189902 h 4705763"/>
              <a:gd name="connsiteX46" fmla="*/ 1016158 w 1825371"/>
              <a:gd name="connsiteY46" fmla="*/ 1097041 h 4705763"/>
              <a:gd name="connsiteX47" fmla="*/ 1055513 w 1825371"/>
              <a:gd name="connsiteY47" fmla="*/ 1078055 h 4705763"/>
              <a:gd name="connsiteX48" fmla="*/ 1097628 w 1825371"/>
              <a:gd name="connsiteY48" fmla="*/ 1104290 h 4705763"/>
              <a:gd name="connsiteX49" fmla="*/ 1115579 w 1825371"/>
              <a:gd name="connsiteY49" fmla="*/ 1107743 h 4705763"/>
              <a:gd name="connsiteX50" fmla="*/ 1177026 w 1825371"/>
              <a:gd name="connsiteY50" fmla="*/ 1087375 h 4705763"/>
              <a:gd name="connsiteX51" fmla="*/ 1179787 w 1825371"/>
              <a:gd name="connsiteY51" fmla="*/ 1073913 h 4705763"/>
              <a:gd name="connsiteX52" fmla="*/ 1135255 w 1825371"/>
              <a:gd name="connsiteY52" fmla="*/ 1041117 h 4705763"/>
              <a:gd name="connsiteX53" fmla="*/ 939868 w 1825371"/>
              <a:gd name="connsiteY53" fmla="*/ 883702 h 4705763"/>
              <a:gd name="connsiteX54" fmla="*/ 549783 w 1825371"/>
              <a:gd name="connsiteY54" fmla="*/ 496379 h 4705763"/>
              <a:gd name="connsiteX55" fmla="*/ 40947 w 1825371"/>
              <a:gd name="connsiteY55" fmla="*/ 48990 h 4705763"/>
              <a:gd name="connsiteX56" fmla="*/ 5735 w 1825371"/>
              <a:gd name="connsiteY56" fmla="*/ 17231 h 4705763"/>
              <a:gd name="connsiteX57" fmla="*/ 902 w 1825371"/>
              <a:gd name="connsiteY57" fmla="*/ 4114 h 4705763"/>
              <a:gd name="connsiteX58" fmla="*/ 15747 w 1825371"/>
              <a:gd name="connsiteY58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97493 w 1825371"/>
              <a:gd name="connsiteY33" fmla="*/ 4685667 h 4705763"/>
              <a:gd name="connsiteX34" fmla="*/ 938419 w 1825371"/>
              <a:gd name="connsiteY34" fmla="*/ 4705763 h 4705763"/>
              <a:gd name="connsiteX35" fmla="*/ 1053441 w 1825371"/>
              <a:gd name="connsiteY35" fmla="*/ 2920082 h 4705763"/>
              <a:gd name="connsiteX36" fmla="*/ 1066213 w 1825371"/>
              <a:gd name="connsiteY36" fmla="*/ 2573839 h 4705763"/>
              <a:gd name="connsiteX37" fmla="*/ 1077951 w 1825371"/>
              <a:gd name="connsiteY37" fmla="*/ 2236916 h 4705763"/>
              <a:gd name="connsiteX38" fmla="*/ 1093485 w 1825371"/>
              <a:gd name="connsiteY38" fmla="*/ 1882733 h 4705763"/>
              <a:gd name="connsiteX39" fmla="*/ 1107983 w 1825371"/>
              <a:gd name="connsiteY39" fmla="*/ 1608293 h 4705763"/>
              <a:gd name="connsiteX40" fmla="*/ 1125245 w 1825371"/>
              <a:gd name="connsiteY40" fmla="*/ 1293464 h 4705763"/>
              <a:gd name="connsiteX41" fmla="*/ 1096247 w 1825371"/>
              <a:gd name="connsiteY41" fmla="*/ 1270681 h 4705763"/>
              <a:gd name="connsiteX42" fmla="*/ 984400 w 1825371"/>
              <a:gd name="connsiteY42" fmla="*/ 1242374 h 4705763"/>
              <a:gd name="connsiteX43" fmla="*/ 977149 w 1825371"/>
              <a:gd name="connsiteY43" fmla="*/ 1225458 h 4705763"/>
              <a:gd name="connsiteX44" fmla="*/ 983019 w 1825371"/>
              <a:gd name="connsiteY44" fmla="*/ 1189902 h 4705763"/>
              <a:gd name="connsiteX45" fmla="*/ 1016158 w 1825371"/>
              <a:gd name="connsiteY45" fmla="*/ 1097041 h 4705763"/>
              <a:gd name="connsiteX46" fmla="*/ 1055513 w 1825371"/>
              <a:gd name="connsiteY46" fmla="*/ 1078055 h 4705763"/>
              <a:gd name="connsiteX47" fmla="*/ 1097628 w 1825371"/>
              <a:gd name="connsiteY47" fmla="*/ 1104290 h 4705763"/>
              <a:gd name="connsiteX48" fmla="*/ 1115579 w 1825371"/>
              <a:gd name="connsiteY48" fmla="*/ 1107743 h 4705763"/>
              <a:gd name="connsiteX49" fmla="*/ 1177026 w 1825371"/>
              <a:gd name="connsiteY49" fmla="*/ 1087375 h 4705763"/>
              <a:gd name="connsiteX50" fmla="*/ 1179787 w 1825371"/>
              <a:gd name="connsiteY50" fmla="*/ 1073913 h 4705763"/>
              <a:gd name="connsiteX51" fmla="*/ 1135255 w 1825371"/>
              <a:gd name="connsiteY51" fmla="*/ 1041117 h 4705763"/>
              <a:gd name="connsiteX52" fmla="*/ 939868 w 1825371"/>
              <a:gd name="connsiteY52" fmla="*/ 883702 h 4705763"/>
              <a:gd name="connsiteX53" fmla="*/ 549783 w 1825371"/>
              <a:gd name="connsiteY53" fmla="*/ 496379 h 4705763"/>
              <a:gd name="connsiteX54" fmla="*/ 40947 w 1825371"/>
              <a:gd name="connsiteY54" fmla="*/ 48990 h 4705763"/>
              <a:gd name="connsiteX55" fmla="*/ 5735 w 1825371"/>
              <a:gd name="connsiteY55" fmla="*/ 17231 h 4705763"/>
              <a:gd name="connsiteX56" fmla="*/ 902 w 1825371"/>
              <a:gd name="connsiteY56" fmla="*/ 4114 h 4705763"/>
              <a:gd name="connsiteX57" fmla="*/ 15747 w 1825371"/>
              <a:gd name="connsiteY57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97493 w 1825371"/>
              <a:gd name="connsiteY32" fmla="*/ 4685667 h 4705763"/>
              <a:gd name="connsiteX33" fmla="*/ 938419 w 1825371"/>
              <a:gd name="connsiteY33" fmla="*/ 4705763 h 4705763"/>
              <a:gd name="connsiteX34" fmla="*/ 1053441 w 1825371"/>
              <a:gd name="connsiteY34" fmla="*/ 2920082 h 4705763"/>
              <a:gd name="connsiteX35" fmla="*/ 1066213 w 1825371"/>
              <a:gd name="connsiteY35" fmla="*/ 2573839 h 4705763"/>
              <a:gd name="connsiteX36" fmla="*/ 1077951 w 1825371"/>
              <a:gd name="connsiteY36" fmla="*/ 2236916 h 4705763"/>
              <a:gd name="connsiteX37" fmla="*/ 1093485 w 1825371"/>
              <a:gd name="connsiteY37" fmla="*/ 1882733 h 4705763"/>
              <a:gd name="connsiteX38" fmla="*/ 1107983 w 1825371"/>
              <a:gd name="connsiteY38" fmla="*/ 1608293 h 4705763"/>
              <a:gd name="connsiteX39" fmla="*/ 1125245 w 1825371"/>
              <a:gd name="connsiteY39" fmla="*/ 1293464 h 4705763"/>
              <a:gd name="connsiteX40" fmla="*/ 1096247 w 1825371"/>
              <a:gd name="connsiteY40" fmla="*/ 1270681 h 4705763"/>
              <a:gd name="connsiteX41" fmla="*/ 984400 w 1825371"/>
              <a:gd name="connsiteY41" fmla="*/ 1242374 h 4705763"/>
              <a:gd name="connsiteX42" fmla="*/ 977149 w 1825371"/>
              <a:gd name="connsiteY42" fmla="*/ 1225458 h 4705763"/>
              <a:gd name="connsiteX43" fmla="*/ 983019 w 1825371"/>
              <a:gd name="connsiteY43" fmla="*/ 1189902 h 4705763"/>
              <a:gd name="connsiteX44" fmla="*/ 1016158 w 1825371"/>
              <a:gd name="connsiteY44" fmla="*/ 1097041 h 4705763"/>
              <a:gd name="connsiteX45" fmla="*/ 1055513 w 1825371"/>
              <a:gd name="connsiteY45" fmla="*/ 1078055 h 4705763"/>
              <a:gd name="connsiteX46" fmla="*/ 1097628 w 1825371"/>
              <a:gd name="connsiteY46" fmla="*/ 1104290 h 4705763"/>
              <a:gd name="connsiteX47" fmla="*/ 1115579 w 1825371"/>
              <a:gd name="connsiteY47" fmla="*/ 1107743 h 4705763"/>
              <a:gd name="connsiteX48" fmla="*/ 1177026 w 1825371"/>
              <a:gd name="connsiteY48" fmla="*/ 1087375 h 4705763"/>
              <a:gd name="connsiteX49" fmla="*/ 1179787 w 1825371"/>
              <a:gd name="connsiteY49" fmla="*/ 1073913 h 4705763"/>
              <a:gd name="connsiteX50" fmla="*/ 1135255 w 1825371"/>
              <a:gd name="connsiteY50" fmla="*/ 1041117 h 4705763"/>
              <a:gd name="connsiteX51" fmla="*/ 939868 w 1825371"/>
              <a:gd name="connsiteY51" fmla="*/ 883702 h 4705763"/>
              <a:gd name="connsiteX52" fmla="*/ 549783 w 1825371"/>
              <a:gd name="connsiteY52" fmla="*/ 496379 h 4705763"/>
              <a:gd name="connsiteX53" fmla="*/ 40947 w 1825371"/>
              <a:gd name="connsiteY53" fmla="*/ 48990 h 4705763"/>
              <a:gd name="connsiteX54" fmla="*/ 5735 w 1825371"/>
              <a:gd name="connsiteY54" fmla="*/ 17231 h 4705763"/>
              <a:gd name="connsiteX55" fmla="*/ 902 w 1825371"/>
              <a:gd name="connsiteY55" fmla="*/ 4114 h 4705763"/>
              <a:gd name="connsiteX56" fmla="*/ 15747 w 1825371"/>
              <a:gd name="connsiteY56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07983 w 1825371"/>
              <a:gd name="connsiteY37" fmla="*/ 1608293 h 4705763"/>
              <a:gd name="connsiteX38" fmla="*/ 1125245 w 1825371"/>
              <a:gd name="connsiteY38" fmla="*/ 1293464 h 4705763"/>
              <a:gd name="connsiteX39" fmla="*/ 1096247 w 1825371"/>
              <a:gd name="connsiteY39" fmla="*/ 1270681 h 4705763"/>
              <a:gd name="connsiteX40" fmla="*/ 984400 w 1825371"/>
              <a:gd name="connsiteY40" fmla="*/ 1242374 h 4705763"/>
              <a:gd name="connsiteX41" fmla="*/ 977149 w 1825371"/>
              <a:gd name="connsiteY41" fmla="*/ 1225458 h 4705763"/>
              <a:gd name="connsiteX42" fmla="*/ 983019 w 1825371"/>
              <a:gd name="connsiteY42" fmla="*/ 1189902 h 4705763"/>
              <a:gd name="connsiteX43" fmla="*/ 1016158 w 1825371"/>
              <a:gd name="connsiteY43" fmla="*/ 1097041 h 4705763"/>
              <a:gd name="connsiteX44" fmla="*/ 1055513 w 1825371"/>
              <a:gd name="connsiteY44" fmla="*/ 1078055 h 4705763"/>
              <a:gd name="connsiteX45" fmla="*/ 1097628 w 1825371"/>
              <a:gd name="connsiteY45" fmla="*/ 1104290 h 4705763"/>
              <a:gd name="connsiteX46" fmla="*/ 1115579 w 1825371"/>
              <a:gd name="connsiteY46" fmla="*/ 1107743 h 4705763"/>
              <a:gd name="connsiteX47" fmla="*/ 1177026 w 1825371"/>
              <a:gd name="connsiteY47" fmla="*/ 1087375 h 4705763"/>
              <a:gd name="connsiteX48" fmla="*/ 1179787 w 1825371"/>
              <a:gd name="connsiteY48" fmla="*/ 1073913 h 4705763"/>
              <a:gd name="connsiteX49" fmla="*/ 1135255 w 1825371"/>
              <a:gd name="connsiteY49" fmla="*/ 1041117 h 4705763"/>
              <a:gd name="connsiteX50" fmla="*/ 939868 w 1825371"/>
              <a:gd name="connsiteY50" fmla="*/ 883702 h 4705763"/>
              <a:gd name="connsiteX51" fmla="*/ 549783 w 1825371"/>
              <a:gd name="connsiteY51" fmla="*/ 496379 h 4705763"/>
              <a:gd name="connsiteX52" fmla="*/ 40947 w 1825371"/>
              <a:gd name="connsiteY52" fmla="*/ 48990 h 4705763"/>
              <a:gd name="connsiteX53" fmla="*/ 5735 w 1825371"/>
              <a:gd name="connsiteY53" fmla="*/ 17231 h 4705763"/>
              <a:gd name="connsiteX54" fmla="*/ 902 w 1825371"/>
              <a:gd name="connsiteY54" fmla="*/ 4114 h 4705763"/>
              <a:gd name="connsiteX55" fmla="*/ 15747 w 1825371"/>
              <a:gd name="connsiteY55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25245 w 1825371"/>
              <a:gd name="connsiteY37" fmla="*/ 1293464 h 4705763"/>
              <a:gd name="connsiteX38" fmla="*/ 1096247 w 1825371"/>
              <a:gd name="connsiteY38" fmla="*/ 1270681 h 4705763"/>
              <a:gd name="connsiteX39" fmla="*/ 984400 w 1825371"/>
              <a:gd name="connsiteY39" fmla="*/ 1242374 h 4705763"/>
              <a:gd name="connsiteX40" fmla="*/ 977149 w 1825371"/>
              <a:gd name="connsiteY40" fmla="*/ 1225458 h 4705763"/>
              <a:gd name="connsiteX41" fmla="*/ 983019 w 1825371"/>
              <a:gd name="connsiteY41" fmla="*/ 1189902 h 4705763"/>
              <a:gd name="connsiteX42" fmla="*/ 1016158 w 1825371"/>
              <a:gd name="connsiteY42" fmla="*/ 1097041 h 4705763"/>
              <a:gd name="connsiteX43" fmla="*/ 1055513 w 1825371"/>
              <a:gd name="connsiteY43" fmla="*/ 1078055 h 4705763"/>
              <a:gd name="connsiteX44" fmla="*/ 1097628 w 1825371"/>
              <a:gd name="connsiteY44" fmla="*/ 1104290 h 4705763"/>
              <a:gd name="connsiteX45" fmla="*/ 1115579 w 1825371"/>
              <a:gd name="connsiteY45" fmla="*/ 1107743 h 4705763"/>
              <a:gd name="connsiteX46" fmla="*/ 1177026 w 1825371"/>
              <a:gd name="connsiteY46" fmla="*/ 1087375 h 4705763"/>
              <a:gd name="connsiteX47" fmla="*/ 1179787 w 1825371"/>
              <a:gd name="connsiteY47" fmla="*/ 1073913 h 4705763"/>
              <a:gd name="connsiteX48" fmla="*/ 1135255 w 1825371"/>
              <a:gd name="connsiteY48" fmla="*/ 1041117 h 4705763"/>
              <a:gd name="connsiteX49" fmla="*/ 939868 w 1825371"/>
              <a:gd name="connsiteY49" fmla="*/ 883702 h 4705763"/>
              <a:gd name="connsiteX50" fmla="*/ 549783 w 1825371"/>
              <a:gd name="connsiteY50" fmla="*/ 496379 h 4705763"/>
              <a:gd name="connsiteX51" fmla="*/ 40947 w 1825371"/>
              <a:gd name="connsiteY51" fmla="*/ 48990 h 4705763"/>
              <a:gd name="connsiteX52" fmla="*/ 5735 w 1825371"/>
              <a:gd name="connsiteY52" fmla="*/ 17231 h 4705763"/>
              <a:gd name="connsiteX53" fmla="*/ 902 w 1825371"/>
              <a:gd name="connsiteY53" fmla="*/ 4114 h 4705763"/>
              <a:gd name="connsiteX54" fmla="*/ 15747 w 1825371"/>
              <a:gd name="connsiteY54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125245 w 1825371"/>
              <a:gd name="connsiteY36" fmla="*/ 1293464 h 4705763"/>
              <a:gd name="connsiteX37" fmla="*/ 1096247 w 1825371"/>
              <a:gd name="connsiteY37" fmla="*/ 1270681 h 4705763"/>
              <a:gd name="connsiteX38" fmla="*/ 984400 w 1825371"/>
              <a:gd name="connsiteY38" fmla="*/ 1242374 h 4705763"/>
              <a:gd name="connsiteX39" fmla="*/ 977149 w 1825371"/>
              <a:gd name="connsiteY39" fmla="*/ 1225458 h 4705763"/>
              <a:gd name="connsiteX40" fmla="*/ 983019 w 1825371"/>
              <a:gd name="connsiteY40" fmla="*/ 1189902 h 4705763"/>
              <a:gd name="connsiteX41" fmla="*/ 1016158 w 1825371"/>
              <a:gd name="connsiteY41" fmla="*/ 1097041 h 4705763"/>
              <a:gd name="connsiteX42" fmla="*/ 1055513 w 1825371"/>
              <a:gd name="connsiteY42" fmla="*/ 1078055 h 4705763"/>
              <a:gd name="connsiteX43" fmla="*/ 1097628 w 1825371"/>
              <a:gd name="connsiteY43" fmla="*/ 1104290 h 4705763"/>
              <a:gd name="connsiteX44" fmla="*/ 1115579 w 1825371"/>
              <a:gd name="connsiteY44" fmla="*/ 1107743 h 4705763"/>
              <a:gd name="connsiteX45" fmla="*/ 1177026 w 1825371"/>
              <a:gd name="connsiteY45" fmla="*/ 1087375 h 4705763"/>
              <a:gd name="connsiteX46" fmla="*/ 1179787 w 1825371"/>
              <a:gd name="connsiteY46" fmla="*/ 1073913 h 4705763"/>
              <a:gd name="connsiteX47" fmla="*/ 1135255 w 1825371"/>
              <a:gd name="connsiteY47" fmla="*/ 1041117 h 4705763"/>
              <a:gd name="connsiteX48" fmla="*/ 939868 w 1825371"/>
              <a:gd name="connsiteY48" fmla="*/ 883702 h 4705763"/>
              <a:gd name="connsiteX49" fmla="*/ 549783 w 1825371"/>
              <a:gd name="connsiteY49" fmla="*/ 496379 h 4705763"/>
              <a:gd name="connsiteX50" fmla="*/ 40947 w 1825371"/>
              <a:gd name="connsiteY50" fmla="*/ 48990 h 4705763"/>
              <a:gd name="connsiteX51" fmla="*/ 5735 w 1825371"/>
              <a:gd name="connsiteY51" fmla="*/ 17231 h 4705763"/>
              <a:gd name="connsiteX52" fmla="*/ 902 w 1825371"/>
              <a:gd name="connsiteY52" fmla="*/ 4114 h 4705763"/>
              <a:gd name="connsiteX53" fmla="*/ 15747 w 1825371"/>
              <a:gd name="connsiteY53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125245 w 1825371"/>
              <a:gd name="connsiteY35" fmla="*/ 1293464 h 4705763"/>
              <a:gd name="connsiteX36" fmla="*/ 1096247 w 1825371"/>
              <a:gd name="connsiteY36" fmla="*/ 1270681 h 4705763"/>
              <a:gd name="connsiteX37" fmla="*/ 984400 w 1825371"/>
              <a:gd name="connsiteY37" fmla="*/ 1242374 h 4705763"/>
              <a:gd name="connsiteX38" fmla="*/ 977149 w 1825371"/>
              <a:gd name="connsiteY38" fmla="*/ 1225458 h 4705763"/>
              <a:gd name="connsiteX39" fmla="*/ 983019 w 1825371"/>
              <a:gd name="connsiteY39" fmla="*/ 1189902 h 4705763"/>
              <a:gd name="connsiteX40" fmla="*/ 1016158 w 1825371"/>
              <a:gd name="connsiteY40" fmla="*/ 1097041 h 4705763"/>
              <a:gd name="connsiteX41" fmla="*/ 1055513 w 1825371"/>
              <a:gd name="connsiteY41" fmla="*/ 1078055 h 4705763"/>
              <a:gd name="connsiteX42" fmla="*/ 1097628 w 1825371"/>
              <a:gd name="connsiteY42" fmla="*/ 1104290 h 4705763"/>
              <a:gd name="connsiteX43" fmla="*/ 1115579 w 1825371"/>
              <a:gd name="connsiteY43" fmla="*/ 1107743 h 4705763"/>
              <a:gd name="connsiteX44" fmla="*/ 1177026 w 1825371"/>
              <a:gd name="connsiteY44" fmla="*/ 1087375 h 4705763"/>
              <a:gd name="connsiteX45" fmla="*/ 1179787 w 1825371"/>
              <a:gd name="connsiteY45" fmla="*/ 1073913 h 4705763"/>
              <a:gd name="connsiteX46" fmla="*/ 1135255 w 1825371"/>
              <a:gd name="connsiteY46" fmla="*/ 1041117 h 4705763"/>
              <a:gd name="connsiteX47" fmla="*/ 939868 w 1825371"/>
              <a:gd name="connsiteY47" fmla="*/ 883702 h 4705763"/>
              <a:gd name="connsiteX48" fmla="*/ 549783 w 1825371"/>
              <a:gd name="connsiteY48" fmla="*/ 496379 h 4705763"/>
              <a:gd name="connsiteX49" fmla="*/ 40947 w 1825371"/>
              <a:gd name="connsiteY49" fmla="*/ 48990 h 4705763"/>
              <a:gd name="connsiteX50" fmla="*/ 5735 w 1825371"/>
              <a:gd name="connsiteY50" fmla="*/ 17231 h 4705763"/>
              <a:gd name="connsiteX51" fmla="*/ 902 w 1825371"/>
              <a:gd name="connsiteY51" fmla="*/ 4114 h 4705763"/>
              <a:gd name="connsiteX52" fmla="*/ 15747 w 1825371"/>
              <a:gd name="connsiteY52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125245 w 1825371"/>
              <a:gd name="connsiteY34" fmla="*/ 1293464 h 4705763"/>
              <a:gd name="connsiteX35" fmla="*/ 1096247 w 1825371"/>
              <a:gd name="connsiteY35" fmla="*/ 1270681 h 4705763"/>
              <a:gd name="connsiteX36" fmla="*/ 984400 w 1825371"/>
              <a:gd name="connsiteY36" fmla="*/ 1242374 h 4705763"/>
              <a:gd name="connsiteX37" fmla="*/ 977149 w 1825371"/>
              <a:gd name="connsiteY37" fmla="*/ 1225458 h 4705763"/>
              <a:gd name="connsiteX38" fmla="*/ 983019 w 1825371"/>
              <a:gd name="connsiteY38" fmla="*/ 1189902 h 4705763"/>
              <a:gd name="connsiteX39" fmla="*/ 1016158 w 1825371"/>
              <a:gd name="connsiteY39" fmla="*/ 1097041 h 4705763"/>
              <a:gd name="connsiteX40" fmla="*/ 1055513 w 1825371"/>
              <a:gd name="connsiteY40" fmla="*/ 1078055 h 4705763"/>
              <a:gd name="connsiteX41" fmla="*/ 1097628 w 1825371"/>
              <a:gd name="connsiteY41" fmla="*/ 1104290 h 4705763"/>
              <a:gd name="connsiteX42" fmla="*/ 1115579 w 1825371"/>
              <a:gd name="connsiteY42" fmla="*/ 1107743 h 4705763"/>
              <a:gd name="connsiteX43" fmla="*/ 1177026 w 1825371"/>
              <a:gd name="connsiteY43" fmla="*/ 1087375 h 4705763"/>
              <a:gd name="connsiteX44" fmla="*/ 1179787 w 1825371"/>
              <a:gd name="connsiteY44" fmla="*/ 1073913 h 4705763"/>
              <a:gd name="connsiteX45" fmla="*/ 1135255 w 1825371"/>
              <a:gd name="connsiteY45" fmla="*/ 1041117 h 4705763"/>
              <a:gd name="connsiteX46" fmla="*/ 939868 w 1825371"/>
              <a:gd name="connsiteY46" fmla="*/ 883702 h 4705763"/>
              <a:gd name="connsiteX47" fmla="*/ 549783 w 1825371"/>
              <a:gd name="connsiteY47" fmla="*/ 496379 h 4705763"/>
              <a:gd name="connsiteX48" fmla="*/ 40947 w 1825371"/>
              <a:gd name="connsiteY48" fmla="*/ 48990 h 4705763"/>
              <a:gd name="connsiteX49" fmla="*/ 5735 w 1825371"/>
              <a:gd name="connsiteY49" fmla="*/ 17231 h 4705763"/>
              <a:gd name="connsiteX50" fmla="*/ 902 w 1825371"/>
              <a:gd name="connsiteY50" fmla="*/ 4114 h 4705763"/>
              <a:gd name="connsiteX51" fmla="*/ 15747 w 1825371"/>
              <a:gd name="connsiteY51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125245 w 1825371"/>
              <a:gd name="connsiteY33" fmla="*/ 1293464 h 4705763"/>
              <a:gd name="connsiteX34" fmla="*/ 1096247 w 1825371"/>
              <a:gd name="connsiteY34" fmla="*/ 1270681 h 4705763"/>
              <a:gd name="connsiteX35" fmla="*/ 984400 w 1825371"/>
              <a:gd name="connsiteY35" fmla="*/ 1242374 h 4705763"/>
              <a:gd name="connsiteX36" fmla="*/ 977149 w 1825371"/>
              <a:gd name="connsiteY36" fmla="*/ 1225458 h 4705763"/>
              <a:gd name="connsiteX37" fmla="*/ 983019 w 1825371"/>
              <a:gd name="connsiteY37" fmla="*/ 1189902 h 4705763"/>
              <a:gd name="connsiteX38" fmla="*/ 1016158 w 1825371"/>
              <a:gd name="connsiteY38" fmla="*/ 1097041 h 4705763"/>
              <a:gd name="connsiteX39" fmla="*/ 1055513 w 1825371"/>
              <a:gd name="connsiteY39" fmla="*/ 1078055 h 4705763"/>
              <a:gd name="connsiteX40" fmla="*/ 1097628 w 1825371"/>
              <a:gd name="connsiteY40" fmla="*/ 1104290 h 4705763"/>
              <a:gd name="connsiteX41" fmla="*/ 1115579 w 1825371"/>
              <a:gd name="connsiteY41" fmla="*/ 1107743 h 4705763"/>
              <a:gd name="connsiteX42" fmla="*/ 1177026 w 1825371"/>
              <a:gd name="connsiteY42" fmla="*/ 1087375 h 4705763"/>
              <a:gd name="connsiteX43" fmla="*/ 1179787 w 1825371"/>
              <a:gd name="connsiteY43" fmla="*/ 1073913 h 4705763"/>
              <a:gd name="connsiteX44" fmla="*/ 1135255 w 1825371"/>
              <a:gd name="connsiteY44" fmla="*/ 1041117 h 4705763"/>
              <a:gd name="connsiteX45" fmla="*/ 939868 w 1825371"/>
              <a:gd name="connsiteY45" fmla="*/ 883702 h 4705763"/>
              <a:gd name="connsiteX46" fmla="*/ 549783 w 1825371"/>
              <a:gd name="connsiteY46" fmla="*/ 496379 h 4705763"/>
              <a:gd name="connsiteX47" fmla="*/ 40947 w 1825371"/>
              <a:gd name="connsiteY47" fmla="*/ 48990 h 4705763"/>
              <a:gd name="connsiteX48" fmla="*/ 5735 w 1825371"/>
              <a:gd name="connsiteY48" fmla="*/ 17231 h 4705763"/>
              <a:gd name="connsiteX49" fmla="*/ 902 w 1825371"/>
              <a:gd name="connsiteY49" fmla="*/ 4114 h 4705763"/>
              <a:gd name="connsiteX50" fmla="*/ 15747 w 1825371"/>
              <a:gd name="connsiteY50" fmla="*/ 1352 h 4705763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97493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17106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78613 w 1825371"/>
              <a:gd name="connsiteY32" fmla="*/ 4685667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825371" h="4705764">
                <a:moveTo>
                  <a:pt x="15747" y="1352"/>
                </a:moveTo>
                <a:cubicBezTo>
                  <a:pt x="40601" y="7565"/>
                  <a:pt x="63040" y="19648"/>
                  <a:pt x="83062" y="34837"/>
                </a:cubicBezTo>
                <a:cubicBezTo>
                  <a:pt x="383392" y="265435"/>
                  <a:pt x="679236" y="502594"/>
                  <a:pt x="961270" y="755975"/>
                </a:cubicBezTo>
                <a:cubicBezTo>
                  <a:pt x="1053096" y="838826"/>
                  <a:pt x="1146302" y="919949"/>
                  <a:pt x="1239162" y="1001764"/>
                </a:cubicBezTo>
                <a:cubicBezTo>
                  <a:pt x="1250209" y="1011775"/>
                  <a:pt x="1262636" y="1020060"/>
                  <a:pt x="1276445" y="1025928"/>
                </a:cubicBezTo>
                <a:cubicBezTo>
                  <a:pt x="1296466" y="1034213"/>
                  <a:pt x="1308204" y="1030070"/>
                  <a:pt x="1316489" y="1009704"/>
                </a:cubicBezTo>
                <a:cubicBezTo>
                  <a:pt x="1325119" y="988991"/>
                  <a:pt x="1335821" y="968968"/>
                  <a:pt x="1345141" y="948602"/>
                </a:cubicBezTo>
                <a:cubicBezTo>
                  <a:pt x="1359640" y="917188"/>
                  <a:pt x="1382079" y="892679"/>
                  <a:pt x="1407624" y="869894"/>
                </a:cubicBezTo>
                <a:cubicBezTo>
                  <a:pt x="1517055" y="771511"/>
                  <a:pt x="1634081" y="682447"/>
                  <a:pt x="1749379" y="590967"/>
                </a:cubicBezTo>
                <a:cubicBezTo>
                  <a:pt x="1768711" y="575432"/>
                  <a:pt x="1788043" y="559898"/>
                  <a:pt x="1808066" y="545399"/>
                </a:cubicBezTo>
                <a:cubicBezTo>
                  <a:pt x="1819802" y="536769"/>
                  <a:pt x="1824634" y="539875"/>
                  <a:pt x="1825326" y="554375"/>
                </a:cubicBezTo>
                <a:cubicBezTo>
                  <a:pt x="1826015" y="568528"/>
                  <a:pt x="1818766" y="579575"/>
                  <a:pt x="1811172" y="590277"/>
                </a:cubicBezTo>
                <a:cubicBezTo>
                  <a:pt x="1783900" y="628594"/>
                  <a:pt x="1751451" y="662770"/>
                  <a:pt x="1721073" y="698326"/>
                </a:cubicBezTo>
                <a:cubicBezTo>
                  <a:pt x="1613023" y="825017"/>
                  <a:pt x="1503592" y="950328"/>
                  <a:pt x="1385877" y="1068389"/>
                </a:cubicBezTo>
                <a:cubicBezTo>
                  <a:pt x="1376900" y="1077364"/>
                  <a:pt x="1378626" y="1088411"/>
                  <a:pt x="1376211" y="1098421"/>
                </a:cubicBezTo>
                <a:cubicBezTo>
                  <a:pt x="1373449" y="1111885"/>
                  <a:pt x="1370342" y="1124658"/>
                  <a:pt x="1361366" y="1135359"/>
                </a:cubicBezTo>
                <a:cubicBezTo>
                  <a:pt x="1352736" y="1145370"/>
                  <a:pt x="1352736" y="1157798"/>
                  <a:pt x="1355153" y="1169879"/>
                </a:cubicBezTo>
                <a:cubicBezTo>
                  <a:pt x="1369651" y="1242374"/>
                  <a:pt x="1391054" y="1312796"/>
                  <a:pt x="1409696" y="1384253"/>
                </a:cubicBezTo>
                <a:cubicBezTo>
                  <a:pt x="1440764" y="1505076"/>
                  <a:pt x="1484260" y="1622102"/>
                  <a:pt x="1524994" y="1739817"/>
                </a:cubicBezTo>
                <a:cubicBezTo>
                  <a:pt x="1577466" y="1890674"/>
                  <a:pt x="1615785" y="2046016"/>
                  <a:pt x="1659971" y="2199288"/>
                </a:cubicBezTo>
                <a:cubicBezTo>
                  <a:pt x="1707264" y="2363607"/>
                  <a:pt x="1746273" y="2529998"/>
                  <a:pt x="1782864" y="2697077"/>
                </a:cubicBezTo>
                <a:cubicBezTo>
                  <a:pt x="1788043" y="2720207"/>
                  <a:pt x="1790460" y="2744026"/>
                  <a:pt x="1794257" y="2767845"/>
                </a:cubicBezTo>
                <a:cubicBezTo>
                  <a:pt x="1794947" y="2771643"/>
                  <a:pt x="1797364" y="2776822"/>
                  <a:pt x="1791840" y="2778202"/>
                </a:cubicBezTo>
                <a:cubicBezTo>
                  <a:pt x="1786662" y="2779583"/>
                  <a:pt x="1785626" y="2774405"/>
                  <a:pt x="1784245" y="2770607"/>
                </a:cubicBezTo>
                <a:cubicBezTo>
                  <a:pt x="1770437" y="2734360"/>
                  <a:pt x="1756975" y="2698113"/>
                  <a:pt x="1746617" y="2660831"/>
                </a:cubicBezTo>
                <a:cubicBezTo>
                  <a:pt x="1673779" y="2397784"/>
                  <a:pt x="1595762" y="2136116"/>
                  <a:pt x="1513602" y="1875484"/>
                </a:cubicBezTo>
                <a:cubicBezTo>
                  <a:pt x="1448704" y="1670431"/>
                  <a:pt x="1380007" y="1466759"/>
                  <a:pt x="1297158" y="1267919"/>
                </a:cubicBezTo>
                <a:cubicBezTo>
                  <a:pt x="1289909" y="1251004"/>
                  <a:pt x="1282659" y="1234089"/>
                  <a:pt x="1275064" y="1217173"/>
                </a:cubicBezTo>
                <a:cubicBezTo>
                  <a:pt x="1269541" y="1205436"/>
                  <a:pt x="1260911" y="1191628"/>
                  <a:pt x="1248483" y="1193353"/>
                </a:cubicBezTo>
                <a:cubicBezTo>
                  <a:pt x="1238128" y="1194734"/>
                  <a:pt x="1235711" y="1211649"/>
                  <a:pt x="1232949" y="1222351"/>
                </a:cubicBezTo>
                <a:cubicBezTo>
                  <a:pt x="1228115" y="1242374"/>
                  <a:pt x="1229843" y="1262740"/>
                  <a:pt x="1230877" y="1283108"/>
                </a:cubicBezTo>
                <a:cubicBezTo>
                  <a:pt x="1226287" y="2417294"/>
                  <a:pt x="1231744" y="3571578"/>
                  <a:pt x="1227154" y="4705764"/>
                </a:cubicBezTo>
                <a:lnTo>
                  <a:pt x="998710" y="4695715"/>
                </a:lnTo>
                <a:cubicBezTo>
                  <a:pt x="1020244" y="4110251"/>
                  <a:pt x="1098940" y="1865978"/>
                  <a:pt x="1125245" y="1293464"/>
                </a:cubicBezTo>
                <a:cubicBezTo>
                  <a:pt x="1126970" y="1262740"/>
                  <a:pt x="1124553" y="1258943"/>
                  <a:pt x="1096247" y="1270681"/>
                </a:cubicBezTo>
                <a:cubicBezTo>
                  <a:pt x="1050679" y="1289666"/>
                  <a:pt x="1018575" y="1263776"/>
                  <a:pt x="984400" y="1242374"/>
                </a:cubicBezTo>
                <a:cubicBezTo>
                  <a:pt x="979221" y="1238921"/>
                  <a:pt x="977841" y="1232017"/>
                  <a:pt x="977149" y="1225458"/>
                </a:cubicBezTo>
                <a:cubicBezTo>
                  <a:pt x="976115" y="1213030"/>
                  <a:pt x="978530" y="1200949"/>
                  <a:pt x="983019" y="1189902"/>
                </a:cubicBezTo>
                <a:cubicBezTo>
                  <a:pt x="995792" y="1159523"/>
                  <a:pt x="1005457" y="1128109"/>
                  <a:pt x="1016158" y="1097041"/>
                </a:cubicBezTo>
                <a:cubicBezTo>
                  <a:pt x="1022717" y="1078055"/>
                  <a:pt x="1036181" y="1071841"/>
                  <a:pt x="1055513" y="1078055"/>
                </a:cubicBezTo>
                <a:cubicBezTo>
                  <a:pt x="1071737" y="1082887"/>
                  <a:pt x="1084855" y="1093934"/>
                  <a:pt x="1097628" y="1104290"/>
                </a:cubicBezTo>
                <a:cubicBezTo>
                  <a:pt x="1103496" y="1108779"/>
                  <a:pt x="1107983" y="1110504"/>
                  <a:pt x="1115579" y="1107743"/>
                </a:cubicBezTo>
                <a:cubicBezTo>
                  <a:pt x="1135945" y="1100147"/>
                  <a:pt x="1156313" y="1093589"/>
                  <a:pt x="1177026" y="1087375"/>
                </a:cubicBezTo>
                <a:cubicBezTo>
                  <a:pt x="1187726" y="1084268"/>
                  <a:pt x="1185655" y="1080126"/>
                  <a:pt x="1179787" y="1073913"/>
                </a:cubicBezTo>
                <a:cubicBezTo>
                  <a:pt x="1166668" y="1060449"/>
                  <a:pt x="1151134" y="1050438"/>
                  <a:pt x="1135255" y="1041117"/>
                </a:cubicBezTo>
                <a:cubicBezTo>
                  <a:pt x="1062417" y="998311"/>
                  <a:pt x="998207" y="944460"/>
                  <a:pt x="939868" y="883702"/>
                </a:cubicBezTo>
                <a:cubicBezTo>
                  <a:pt x="813177" y="751488"/>
                  <a:pt x="683379" y="622035"/>
                  <a:pt x="549783" y="496379"/>
                </a:cubicBezTo>
                <a:cubicBezTo>
                  <a:pt x="385809" y="341382"/>
                  <a:pt x="211479" y="197084"/>
                  <a:pt x="40947" y="48990"/>
                </a:cubicBezTo>
                <a:cubicBezTo>
                  <a:pt x="28864" y="38635"/>
                  <a:pt x="17472" y="27933"/>
                  <a:pt x="5735" y="17231"/>
                </a:cubicBezTo>
                <a:cubicBezTo>
                  <a:pt x="2283" y="13780"/>
                  <a:pt x="-1859" y="9292"/>
                  <a:pt x="902" y="4114"/>
                </a:cubicBezTo>
                <a:cubicBezTo>
                  <a:pt x="4009" y="-1755"/>
                  <a:pt x="10568" y="-29"/>
                  <a:pt x="15747" y="1352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 w="226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FCEF7E4-8494-44BA-9495-9F967125937F}"/>
              </a:ext>
            </a:extLst>
          </p:cNvPr>
          <p:cNvSpPr/>
          <p:nvPr userDrawn="1"/>
        </p:nvSpPr>
        <p:spPr>
          <a:xfrm>
            <a:off x="67749" y="4642338"/>
            <a:ext cx="874123" cy="2253468"/>
          </a:xfrm>
          <a:custGeom>
            <a:avLst/>
            <a:gdLst>
              <a:gd name="connsiteX0" fmla="*/ 15747 w 1825371"/>
              <a:gd name="connsiteY0" fmla="*/ 1352 h 3047785"/>
              <a:gd name="connsiteX1" fmla="*/ 83062 w 1825371"/>
              <a:gd name="connsiteY1" fmla="*/ 34837 h 3047785"/>
              <a:gd name="connsiteX2" fmla="*/ 961270 w 1825371"/>
              <a:gd name="connsiteY2" fmla="*/ 755975 h 3047785"/>
              <a:gd name="connsiteX3" fmla="*/ 1239162 w 1825371"/>
              <a:gd name="connsiteY3" fmla="*/ 1001764 h 3047785"/>
              <a:gd name="connsiteX4" fmla="*/ 1276445 w 1825371"/>
              <a:gd name="connsiteY4" fmla="*/ 1025928 h 3047785"/>
              <a:gd name="connsiteX5" fmla="*/ 1316489 w 1825371"/>
              <a:gd name="connsiteY5" fmla="*/ 1009704 h 3047785"/>
              <a:gd name="connsiteX6" fmla="*/ 1345141 w 1825371"/>
              <a:gd name="connsiteY6" fmla="*/ 948602 h 3047785"/>
              <a:gd name="connsiteX7" fmla="*/ 1407624 w 1825371"/>
              <a:gd name="connsiteY7" fmla="*/ 869894 h 3047785"/>
              <a:gd name="connsiteX8" fmla="*/ 1749379 w 1825371"/>
              <a:gd name="connsiteY8" fmla="*/ 590967 h 3047785"/>
              <a:gd name="connsiteX9" fmla="*/ 1808066 w 1825371"/>
              <a:gd name="connsiteY9" fmla="*/ 545399 h 3047785"/>
              <a:gd name="connsiteX10" fmla="*/ 1825326 w 1825371"/>
              <a:gd name="connsiteY10" fmla="*/ 554375 h 3047785"/>
              <a:gd name="connsiteX11" fmla="*/ 1811172 w 1825371"/>
              <a:gd name="connsiteY11" fmla="*/ 590277 h 3047785"/>
              <a:gd name="connsiteX12" fmla="*/ 1721073 w 1825371"/>
              <a:gd name="connsiteY12" fmla="*/ 698326 h 3047785"/>
              <a:gd name="connsiteX13" fmla="*/ 1385877 w 1825371"/>
              <a:gd name="connsiteY13" fmla="*/ 1068389 h 3047785"/>
              <a:gd name="connsiteX14" fmla="*/ 1376211 w 1825371"/>
              <a:gd name="connsiteY14" fmla="*/ 1098421 h 3047785"/>
              <a:gd name="connsiteX15" fmla="*/ 1361366 w 1825371"/>
              <a:gd name="connsiteY15" fmla="*/ 1135359 h 3047785"/>
              <a:gd name="connsiteX16" fmla="*/ 1355153 w 1825371"/>
              <a:gd name="connsiteY16" fmla="*/ 1169879 h 3047785"/>
              <a:gd name="connsiteX17" fmla="*/ 1409696 w 1825371"/>
              <a:gd name="connsiteY17" fmla="*/ 1384253 h 3047785"/>
              <a:gd name="connsiteX18" fmla="*/ 1524994 w 1825371"/>
              <a:gd name="connsiteY18" fmla="*/ 1739817 h 3047785"/>
              <a:gd name="connsiteX19" fmla="*/ 1659971 w 1825371"/>
              <a:gd name="connsiteY19" fmla="*/ 2199288 h 3047785"/>
              <a:gd name="connsiteX20" fmla="*/ 1782864 w 1825371"/>
              <a:gd name="connsiteY20" fmla="*/ 2697077 h 3047785"/>
              <a:gd name="connsiteX21" fmla="*/ 1794257 w 1825371"/>
              <a:gd name="connsiteY21" fmla="*/ 2767845 h 3047785"/>
              <a:gd name="connsiteX22" fmla="*/ 1791840 w 1825371"/>
              <a:gd name="connsiteY22" fmla="*/ 2778202 h 3047785"/>
              <a:gd name="connsiteX23" fmla="*/ 1784245 w 1825371"/>
              <a:gd name="connsiteY23" fmla="*/ 2770607 h 3047785"/>
              <a:gd name="connsiteX24" fmla="*/ 1746617 w 1825371"/>
              <a:gd name="connsiteY24" fmla="*/ 2660831 h 3047785"/>
              <a:gd name="connsiteX25" fmla="*/ 1513602 w 1825371"/>
              <a:gd name="connsiteY25" fmla="*/ 1875484 h 3047785"/>
              <a:gd name="connsiteX26" fmla="*/ 1297158 w 1825371"/>
              <a:gd name="connsiteY26" fmla="*/ 1267919 h 3047785"/>
              <a:gd name="connsiteX27" fmla="*/ 1275064 w 1825371"/>
              <a:gd name="connsiteY27" fmla="*/ 1217173 h 3047785"/>
              <a:gd name="connsiteX28" fmla="*/ 1248483 w 1825371"/>
              <a:gd name="connsiteY28" fmla="*/ 1193353 h 3047785"/>
              <a:gd name="connsiteX29" fmla="*/ 1232949 w 1825371"/>
              <a:gd name="connsiteY29" fmla="*/ 1222351 h 3047785"/>
              <a:gd name="connsiteX30" fmla="*/ 1230877 w 1825371"/>
              <a:gd name="connsiteY30" fmla="*/ 1283108 h 3047785"/>
              <a:gd name="connsiteX31" fmla="*/ 1243305 w 1825371"/>
              <a:gd name="connsiteY31" fmla="*/ 1522336 h 3047785"/>
              <a:gd name="connsiteX32" fmla="*/ 1261256 w 1825371"/>
              <a:gd name="connsiteY32" fmla="*/ 1854772 h 3047785"/>
              <a:gd name="connsiteX33" fmla="*/ 1272647 w 1825371"/>
              <a:gd name="connsiteY33" fmla="*/ 2086061 h 3047785"/>
              <a:gd name="connsiteX34" fmla="*/ 1288528 w 1825371"/>
              <a:gd name="connsiteY34" fmla="*/ 2674639 h 3047785"/>
              <a:gd name="connsiteX35" fmla="*/ 1297493 w 1825371"/>
              <a:gd name="connsiteY35" fmla="*/ 3047785 h 3047785"/>
              <a:gd name="connsiteX36" fmla="*/ 1048951 w 1825371"/>
              <a:gd name="connsiteY36" fmla="*/ 3047785 h 3047785"/>
              <a:gd name="connsiteX37" fmla="*/ 1053441 w 1825371"/>
              <a:gd name="connsiteY37" fmla="*/ 2920082 h 3047785"/>
              <a:gd name="connsiteX38" fmla="*/ 1066213 w 1825371"/>
              <a:gd name="connsiteY38" fmla="*/ 2573839 h 3047785"/>
              <a:gd name="connsiteX39" fmla="*/ 1077951 w 1825371"/>
              <a:gd name="connsiteY39" fmla="*/ 2236916 h 3047785"/>
              <a:gd name="connsiteX40" fmla="*/ 1093485 w 1825371"/>
              <a:gd name="connsiteY40" fmla="*/ 1882733 h 3047785"/>
              <a:gd name="connsiteX41" fmla="*/ 1107983 w 1825371"/>
              <a:gd name="connsiteY41" fmla="*/ 1608293 h 3047785"/>
              <a:gd name="connsiteX42" fmla="*/ 1125245 w 1825371"/>
              <a:gd name="connsiteY42" fmla="*/ 1293464 h 3047785"/>
              <a:gd name="connsiteX43" fmla="*/ 1096247 w 1825371"/>
              <a:gd name="connsiteY43" fmla="*/ 1270681 h 3047785"/>
              <a:gd name="connsiteX44" fmla="*/ 984400 w 1825371"/>
              <a:gd name="connsiteY44" fmla="*/ 1242374 h 3047785"/>
              <a:gd name="connsiteX45" fmla="*/ 977149 w 1825371"/>
              <a:gd name="connsiteY45" fmla="*/ 1225458 h 3047785"/>
              <a:gd name="connsiteX46" fmla="*/ 983019 w 1825371"/>
              <a:gd name="connsiteY46" fmla="*/ 1189902 h 3047785"/>
              <a:gd name="connsiteX47" fmla="*/ 1016158 w 1825371"/>
              <a:gd name="connsiteY47" fmla="*/ 1097041 h 3047785"/>
              <a:gd name="connsiteX48" fmla="*/ 1055513 w 1825371"/>
              <a:gd name="connsiteY48" fmla="*/ 1078055 h 3047785"/>
              <a:gd name="connsiteX49" fmla="*/ 1097628 w 1825371"/>
              <a:gd name="connsiteY49" fmla="*/ 1104290 h 3047785"/>
              <a:gd name="connsiteX50" fmla="*/ 1115579 w 1825371"/>
              <a:gd name="connsiteY50" fmla="*/ 1107743 h 3047785"/>
              <a:gd name="connsiteX51" fmla="*/ 1177026 w 1825371"/>
              <a:gd name="connsiteY51" fmla="*/ 1087375 h 3047785"/>
              <a:gd name="connsiteX52" fmla="*/ 1179787 w 1825371"/>
              <a:gd name="connsiteY52" fmla="*/ 1073913 h 3047785"/>
              <a:gd name="connsiteX53" fmla="*/ 1135255 w 1825371"/>
              <a:gd name="connsiteY53" fmla="*/ 1041117 h 3047785"/>
              <a:gd name="connsiteX54" fmla="*/ 939868 w 1825371"/>
              <a:gd name="connsiteY54" fmla="*/ 883702 h 3047785"/>
              <a:gd name="connsiteX55" fmla="*/ 549783 w 1825371"/>
              <a:gd name="connsiteY55" fmla="*/ 496379 h 3047785"/>
              <a:gd name="connsiteX56" fmla="*/ 40947 w 1825371"/>
              <a:gd name="connsiteY56" fmla="*/ 48990 h 3047785"/>
              <a:gd name="connsiteX57" fmla="*/ 5735 w 1825371"/>
              <a:gd name="connsiteY57" fmla="*/ 17231 h 3047785"/>
              <a:gd name="connsiteX58" fmla="*/ 902 w 1825371"/>
              <a:gd name="connsiteY58" fmla="*/ 4114 h 3047785"/>
              <a:gd name="connsiteX59" fmla="*/ 15747 w 1825371"/>
              <a:gd name="connsiteY59" fmla="*/ 1352 h 3047785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3047785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4685667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97493 w 1825371"/>
              <a:gd name="connsiteY34" fmla="*/ 4685667 h 4705763"/>
              <a:gd name="connsiteX35" fmla="*/ 938419 w 1825371"/>
              <a:gd name="connsiteY35" fmla="*/ 4705763 h 4705763"/>
              <a:gd name="connsiteX36" fmla="*/ 1053441 w 1825371"/>
              <a:gd name="connsiteY36" fmla="*/ 2920082 h 4705763"/>
              <a:gd name="connsiteX37" fmla="*/ 1066213 w 1825371"/>
              <a:gd name="connsiteY37" fmla="*/ 2573839 h 4705763"/>
              <a:gd name="connsiteX38" fmla="*/ 1077951 w 1825371"/>
              <a:gd name="connsiteY38" fmla="*/ 2236916 h 4705763"/>
              <a:gd name="connsiteX39" fmla="*/ 1093485 w 1825371"/>
              <a:gd name="connsiteY39" fmla="*/ 1882733 h 4705763"/>
              <a:gd name="connsiteX40" fmla="*/ 1107983 w 1825371"/>
              <a:gd name="connsiteY40" fmla="*/ 1608293 h 4705763"/>
              <a:gd name="connsiteX41" fmla="*/ 1125245 w 1825371"/>
              <a:gd name="connsiteY41" fmla="*/ 1293464 h 4705763"/>
              <a:gd name="connsiteX42" fmla="*/ 1096247 w 1825371"/>
              <a:gd name="connsiteY42" fmla="*/ 1270681 h 4705763"/>
              <a:gd name="connsiteX43" fmla="*/ 984400 w 1825371"/>
              <a:gd name="connsiteY43" fmla="*/ 1242374 h 4705763"/>
              <a:gd name="connsiteX44" fmla="*/ 977149 w 1825371"/>
              <a:gd name="connsiteY44" fmla="*/ 1225458 h 4705763"/>
              <a:gd name="connsiteX45" fmla="*/ 983019 w 1825371"/>
              <a:gd name="connsiteY45" fmla="*/ 1189902 h 4705763"/>
              <a:gd name="connsiteX46" fmla="*/ 1016158 w 1825371"/>
              <a:gd name="connsiteY46" fmla="*/ 1097041 h 4705763"/>
              <a:gd name="connsiteX47" fmla="*/ 1055513 w 1825371"/>
              <a:gd name="connsiteY47" fmla="*/ 1078055 h 4705763"/>
              <a:gd name="connsiteX48" fmla="*/ 1097628 w 1825371"/>
              <a:gd name="connsiteY48" fmla="*/ 1104290 h 4705763"/>
              <a:gd name="connsiteX49" fmla="*/ 1115579 w 1825371"/>
              <a:gd name="connsiteY49" fmla="*/ 1107743 h 4705763"/>
              <a:gd name="connsiteX50" fmla="*/ 1177026 w 1825371"/>
              <a:gd name="connsiteY50" fmla="*/ 1087375 h 4705763"/>
              <a:gd name="connsiteX51" fmla="*/ 1179787 w 1825371"/>
              <a:gd name="connsiteY51" fmla="*/ 1073913 h 4705763"/>
              <a:gd name="connsiteX52" fmla="*/ 1135255 w 1825371"/>
              <a:gd name="connsiteY52" fmla="*/ 1041117 h 4705763"/>
              <a:gd name="connsiteX53" fmla="*/ 939868 w 1825371"/>
              <a:gd name="connsiteY53" fmla="*/ 883702 h 4705763"/>
              <a:gd name="connsiteX54" fmla="*/ 549783 w 1825371"/>
              <a:gd name="connsiteY54" fmla="*/ 496379 h 4705763"/>
              <a:gd name="connsiteX55" fmla="*/ 40947 w 1825371"/>
              <a:gd name="connsiteY55" fmla="*/ 48990 h 4705763"/>
              <a:gd name="connsiteX56" fmla="*/ 5735 w 1825371"/>
              <a:gd name="connsiteY56" fmla="*/ 17231 h 4705763"/>
              <a:gd name="connsiteX57" fmla="*/ 902 w 1825371"/>
              <a:gd name="connsiteY57" fmla="*/ 4114 h 4705763"/>
              <a:gd name="connsiteX58" fmla="*/ 15747 w 1825371"/>
              <a:gd name="connsiteY58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97493 w 1825371"/>
              <a:gd name="connsiteY33" fmla="*/ 4685667 h 4705763"/>
              <a:gd name="connsiteX34" fmla="*/ 938419 w 1825371"/>
              <a:gd name="connsiteY34" fmla="*/ 4705763 h 4705763"/>
              <a:gd name="connsiteX35" fmla="*/ 1053441 w 1825371"/>
              <a:gd name="connsiteY35" fmla="*/ 2920082 h 4705763"/>
              <a:gd name="connsiteX36" fmla="*/ 1066213 w 1825371"/>
              <a:gd name="connsiteY36" fmla="*/ 2573839 h 4705763"/>
              <a:gd name="connsiteX37" fmla="*/ 1077951 w 1825371"/>
              <a:gd name="connsiteY37" fmla="*/ 2236916 h 4705763"/>
              <a:gd name="connsiteX38" fmla="*/ 1093485 w 1825371"/>
              <a:gd name="connsiteY38" fmla="*/ 1882733 h 4705763"/>
              <a:gd name="connsiteX39" fmla="*/ 1107983 w 1825371"/>
              <a:gd name="connsiteY39" fmla="*/ 1608293 h 4705763"/>
              <a:gd name="connsiteX40" fmla="*/ 1125245 w 1825371"/>
              <a:gd name="connsiteY40" fmla="*/ 1293464 h 4705763"/>
              <a:gd name="connsiteX41" fmla="*/ 1096247 w 1825371"/>
              <a:gd name="connsiteY41" fmla="*/ 1270681 h 4705763"/>
              <a:gd name="connsiteX42" fmla="*/ 984400 w 1825371"/>
              <a:gd name="connsiteY42" fmla="*/ 1242374 h 4705763"/>
              <a:gd name="connsiteX43" fmla="*/ 977149 w 1825371"/>
              <a:gd name="connsiteY43" fmla="*/ 1225458 h 4705763"/>
              <a:gd name="connsiteX44" fmla="*/ 983019 w 1825371"/>
              <a:gd name="connsiteY44" fmla="*/ 1189902 h 4705763"/>
              <a:gd name="connsiteX45" fmla="*/ 1016158 w 1825371"/>
              <a:gd name="connsiteY45" fmla="*/ 1097041 h 4705763"/>
              <a:gd name="connsiteX46" fmla="*/ 1055513 w 1825371"/>
              <a:gd name="connsiteY46" fmla="*/ 1078055 h 4705763"/>
              <a:gd name="connsiteX47" fmla="*/ 1097628 w 1825371"/>
              <a:gd name="connsiteY47" fmla="*/ 1104290 h 4705763"/>
              <a:gd name="connsiteX48" fmla="*/ 1115579 w 1825371"/>
              <a:gd name="connsiteY48" fmla="*/ 1107743 h 4705763"/>
              <a:gd name="connsiteX49" fmla="*/ 1177026 w 1825371"/>
              <a:gd name="connsiteY49" fmla="*/ 1087375 h 4705763"/>
              <a:gd name="connsiteX50" fmla="*/ 1179787 w 1825371"/>
              <a:gd name="connsiteY50" fmla="*/ 1073913 h 4705763"/>
              <a:gd name="connsiteX51" fmla="*/ 1135255 w 1825371"/>
              <a:gd name="connsiteY51" fmla="*/ 1041117 h 4705763"/>
              <a:gd name="connsiteX52" fmla="*/ 939868 w 1825371"/>
              <a:gd name="connsiteY52" fmla="*/ 883702 h 4705763"/>
              <a:gd name="connsiteX53" fmla="*/ 549783 w 1825371"/>
              <a:gd name="connsiteY53" fmla="*/ 496379 h 4705763"/>
              <a:gd name="connsiteX54" fmla="*/ 40947 w 1825371"/>
              <a:gd name="connsiteY54" fmla="*/ 48990 h 4705763"/>
              <a:gd name="connsiteX55" fmla="*/ 5735 w 1825371"/>
              <a:gd name="connsiteY55" fmla="*/ 17231 h 4705763"/>
              <a:gd name="connsiteX56" fmla="*/ 902 w 1825371"/>
              <a:gd name="connsiteY56" fmla="*/ 4114 h 4705763"/>
              <a:gd name="connsiteX57" fmla="*/ 15747 w 1825371"/>
              <a:gd name="connsiteY57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97493 w 1825371"/>
              <a:gd name="connsiteY32" fmla="*/ 4685667 h 4705763"/>
              <a:gd name="connsiteX33" fmla="*/ 938419 w 1825371"/>
              <a:gd name="connsiteY33" fmla="*/ 4705763 h 4705763"/>
              <a:gd name="connsiteX34" fmla="*/ 1053441 w 1825371"/>
              <a:gd name="connsiteY34" fmla="*/ 2920082 h 4705763"/>
              <a:gd name="connsiteX35" fmla="*/ 1066213 w 1825371"/>
              <a:gd name="connsiteY35" fmla="*/ 2573839 h 4705763"/>
              <a:gd name="connsiteX36" fmla="*/ 1077951 w 1825371"/>
              <a:gd name="connsiteY36" fmla="*/ 2236916 h 4705763"/>
              <a:gd name="connsiteX37" fmla="*/ 1093485 w 1825371"/>
              <a:gd name="connsiteY37" fmla="*/ 1882733 h 4705763"/>
              <a:gd name="connsiteX38" fmla="*/ 1107983 w 1825371"/>
              <a:gd name="connsiteY38" fmla="*/ 1608293 h 4705763"/>
              <a:gd name="connsiteX39" fmla="*/ 1125245 w 1825371"/>
              <a:gd name="connsiteY39" fmla="*/ 1293464 h 4705763"/>
              <a:gd name="connsiteX40" fmla="*/ 1096247 w 1825371"/>
              <a:gd name="connsiteY40" fmla="*/ 1270681 h 4705763"/>
              <a:gd name="connsiteX41" fmla="*/ 984400 w 1825371"/>
              <a:gd name="connsiteY41" fmla="*/ 1242374 h 4705763"/>
              <a:gd name="connsiteX42" fmla="*/ 977149 w 1825371"/>
              <a:gd name="connsiteY42" fmla="*/ 1225458 h 4705763"/>
              <a:gd name="connsiteX43" fmla="*/ 983019 w 1825371"/>
              <a:gd name="connsiteY43" fmla="*/ 1189902 h 4705763"/>
              <a:gd name="connsiteX44" fmla="*/ 1016158 w 1825371"/>
              <a:gd name="connsiteY44" fmla="*/ 1097041 h 4705763"/>
              <a:gd name="connsiteX45" fmla="*/ 1055513 w 1825371"/>
              <a:gd name="connsiteY45" fmla="*/ 1078055 h 4705763"/>
              <a:gd name="connsiteX46" fmla="*/ 1097628 w 1825371"/>
              <a:gd name="connsiteY46" fmla="*/ 1104290 h 4705763"/>
              <a:gd name="connsiteX47" fmla="*/ 1115579 w 1825371"/>
              <a:gd name="connsiteY47" fmla="*/ 1107743 h 4705763"/>
              <a:gd name="connsiteX48" fmla="*/ 1177026 w 1825371"/>
              <a:gd name="connsiteY48" fmla="*/ 1087375 h 4705763"/>
              <a:gd name="connsiteX49" fmla="*/ 1179787 w 1825371"/>
              <a:gd name="connsiteY49" fmla="*/ 1073913 h 4705763"/>
              <a:gd name="connsiteX50" fmla="*/ 1135255 w 1825371"/>
              <a:gd name="connsiteY50" fmla="*/ 1041117 h 4705763"/>
              <a:gd name="connsiteX51" fmla="*/ 939868 w 1825371"/>
              <a:gd name="connsiteY51" fmla="*/ 883702 h 4705763"/>
              <a:gd name="connsiteX52" fmla="*/ 549783 w 1825371"/>
              <a:gd name="connsiteY52" fmla="*/ 496379 h 4705763"/>
              <a:gd name="connsiteX53" fmla="*/ 40947 w 1825371"/>
              <a:gd name="connsiteY53" fmla="*/ 48990 h 4705763"/>
              <a:gd name="connsiteX54" fmla="*/ 5735 w 1825371"/>
              <a:gd name="connsiteY54" fmla="*/ 17231 h 4705763"/>
              <a:gd name="connsiteX55" fmla="*/ 902 w 1825371"/>
              <a:gd name="connsiteY55" fmla="*/ 4114 h 4705763"/>
              <a:gd name="connsiteX56" fmla="*/ 15747 w 1825371"/>
              <a:gd name="connsiteY56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07983 w 1825371"/>
              <a:gd name="connsiteY37" fmla="*/ 1608293 h 4705763"/>
              <a:gd name="connsiteX38" fmla="*/ 1125245 w 1825371"/>
              <a:gd name="connsiteY38" fmla="*/ 1293464 h 4705763"/>
              <a:gd name="connsiteX39" fmla="*/ 1096247 w 1825371"/>
              <a:gd name="connsiteY39" fmla="*/ 1270681 h 4705763"/>
              <a:gd name="connsiteX40" fmla="*/ 984400 w 1825371"/>
              <a:gd name="connsiteY40" fmla="*/ 1242374 h 4705763"/>
              <a:gd name="connsiteX41" fmla="*/ 977149 w 1825371"/>
              <a:gd name="connsiteY41" fmla="*/ 1225458 h 4705763"/>
              <a:gd name="connsiteX42" fmla="*/ 983019 w 1825371"/>
              <a:gd name="connsiteY42" fmla="*/ 1189902 h 4705763"/>
              <a:gd name="connsiteX43" fmla="*/ 1016158 w 1825371"/>
              <a:gd name="connsiteY43" fmla="*/ 1097041 h 4705763"/>
              <a:gd name="connsiteX44" fmla="*/ 1055513 w 1825371"/>
              <a:gd name="connsiteY44" fmla="*/ 1078055 h 4705763"/>
              <a:gd name="connsiteX45" fmla="*/ 1097628 w 1825371"/>
              <a:gd name="connsiteY45" fmla="*/ 1104290 h 4705763"/>
              <a:gd name="connsiteX46" fmla="*/ 1115579 w 1825371"/>
              <a:gd name="connsiteY46" fmla="*/ 1107743 h 4705763"/>
              <a:gd name="connsiteX47" fmla="*/ 1177026 w 1825371"/>
              <a:gd name="connsiteY47" fmla="*/ 1087375 h 4705763"/>
              <a:gd name="connsiteX48" fmla="*/ 1179787 w 1825371"/>
              <a:gd name="connsiteY48" fmla="*/ 1073913 h 4705763"/>
              <a:gd name="connsiteX49" fmla="*/ 1135255 w 1825371"/>
              <a:gd name="connsiteY49" fmla="*/ 1041117 h 4705763"/>
              <a:gd name="connsiteX50" fmla="*/ 939868 w 1825371"/>
              <a:gd name="connsiteY50" fmla="*/ 883702 h 4705763"/>
              <a:gd name="connsiteX51" fmla="*/ 549783 w 1825371"/>
              <a:gd name="connsiteY51" fmla="*/ 496379 h 4705763"/>
              <a:gd name="connsiteX52" fmla="*/ 40947 w 1825371"/>
              <a:gd name="connsiteY52" fmla="*/ 48990 h 4705763"/>
              <a:gd name="connsiteX53" fmla="*/ 5735 w 1825371"/>
              <a:gd name="connsiteY53" fmla="*/ 17231 h 4705763"/>
              <a:gd name="connsiteX54" fmla="*/ 902 w 1825371"/>
              <a:gd name="connsiteY54" fmla="*/ 4114 h 4705763"/>
              <a:gd name="connsiteX55" fmla="*/ 15747 w 1825371"/>
              <a:gd name="connsiteY55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25245 w 1825371"/>
              <a:gd name="connsiteY37" fmla="*/ 1293464 h 4705763"/>
              <a:gd name="connsiteX38" fmla="*/ 1096247 w 1825371"/>
              <a:gd name="connsiteY38" fmla="*/ 1270681 h 4705763"/>
              <a:gd name="connsiteX39" fmla="*/ 984400 w 1825371"/>
              <a:gd name="connsiteY39" fmla="*/ 1242374 h 4705763"/>
              <a:gd name="connsiteX40" fmla="*/ 977149 w 1825371"/>
              <a:gd name="connsiteY40" fmla="*/ 1225458 h 4705763"/>
              <a:gd name="connsiteX41" fmla="*/ 983019 w 1825371"/>
              <a:gd name="connsiteY41" fmla="*/ 1189902 h 4705763"/>
              <a:gd name="connsiteX42" fmla="*/ 1016158 w 1825371"/>
              <a:gd name="connsiteY42" fmla="*/ 1097041 h 4705763"/>
              <a:gd name="connsiteX43" fmla="*/ 1055513 w 1825371"/>
              <a:gd name="connsiteY43" fmla="*/ 1078055 h 4705763"/>
              <a:gd name="connsiteX44" fmla="*/ 1097628 w 1825371"/>
              <a:gd name="connsiteY44" fmla="*/ 1104290 h 4705763"/>
              <a:gd name="connsiteX45" fmla="*/ 1115579 w 1825371"/>
              <a:gd name="connsiteY45" fmla="*/ 1107743 h 4705763"/>
              <a:gd name="connsiteX46" fmla="*/ 1177026 w 1825371"/>
              <a:gd name="connsiteY46" fmla="*/ 1087375 h 4705763"/>
              <a:gd name="connsiteX47" fmla="*/ 1179787 w 1825371"/>
              <a:gd name="connsiteY47" fmla="*/ 1073913 h 4705763"/>
              <a:gd name="connsiteX48" fmla="*/ 1135255 w 1825371"/>
              <a:gd name="connsiteY48" fmla="*/ 1041117 h 4705763"/>
              <a:gd name="connsiteX49" fmla="*/ 939868 w 1825371"/>
              <a:gd name="connsiteY49" fmla="*/ 883702 h 4705763"/>
              <a:gd name="connsiteX50" fmla="*/ 549783 w 1825371"/>
              <a:gd name="connsiteY50" fmla="*/ 496379 h 4705763"/>
              <a:gd name="connsiteX51" fmla="*/ 40947 w 1825371"/>
              <a:gd name="connsiteY51" fmla="*/ 48990 h 4705763"/>
              <a:gd name="connsiteX52" fmla="*/ 5735 w 1825371"/>
              <a:gd name="connsiteY52" fmla="*/ 17231 h 4705763"/>
              <a:gd name="connsiteX53" fmla="*/ 902 w 1825371"/>
              <a:gd name="connsiteY53" fmla="*/ 4114 h 4705763"/>
              <a:gd name="connsiteX54" fmla="*/ 15747 w 1825371"/>
              <a:gd name="connsiteY54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125245 w 1825371"/>
              <a:gd name="connsiteY36" fmla="*/ 1293464 h 4705763"/>
              <a:gd name="connsiteX37" fmla="*/ 1096247 w 1825371"/>
              <a:gd name="connsiteY37" fmla="*/ 1270681 h 4705763"/>
              <a:gd name="connsiteX38" fmla="*/ 984400 w 1825371"/>
              <a:gd name="connsiteY38" fmla="*/ 1242374 h 4705763"/>
              <a:gd name="connsiteX39" fmla="*/ 977149 w 1825371"/>
              <a:gd name="connsiteY39" fmla="*/ 1225458 h 4705763"/>
              <a:gd name="connsiteX40" fmla="*/ 983019 w 1825371"/>
              <a:gd name="connsiteY40" fmla="*/ 1189902 h 4705763"/>
              <a:gd name="connsiteX41" fmla="*/ 1016158 w 1825371"/>
              <a:gd name="connsiteY41" fmla="*/ 1097041 h 4705763"/>
              <a:gd name="connsiteX42" fmla="*/ 1055513 w 1825371"/>
              <a:gd name="connsiteY42" fmla="*/ 1078055 h 4705763"/>
              <a:gd name="connsiteX43" fmla="*/ 1097628 w 1825371"/>
              <a:gd name="connsiteY43" fmla="*/ 1104290 h 4705763"/>
              <a:gd name="connsiteX44" fmla="*/ 1115579 w 1825371"/>
              <a:gd name="connsiteY44" fmla="*/ 1107743 h 4705763"/>
              <a:gd name="connsiteX45" fmla="*/ 1177026 w 1825371"/>
              <a:gd name="connsiteY45" fmla="*/ 1087375 h 4705763"/>
              <a:gd name="connsiteX46" fmla="*/ 1179787 w 1825371"/>
              <a:gd name="connsiteY46" fmla="*/ 1073913 h 4705763"/>
              <a:gd name="connsiteX47" fmla="*/ 1135255 w 1825371"/>
              <a:gd name="connsiteY47" fmla="*/ 1041117 h 4705763"/>
              <a:gd name="connsiteX48" fmla="*/ 939868 w 1825371"/>
              <a:gd name="connsiteY48" fmla="*/ 883702 h 4705763"/>
              <a:gd name="connsiteX49" fmla="*/ 549783 w 1825371"/>
              <a:gd name="connsiteY49" fmla="*/ 496379 h 4705763"/>
              <a:gd name="connsiteX50" fmla="*/ 40947 w 1825371"/>
              <a:gd name="connsiteY50" fmla="*/ 48990 h 4705763"/>
              <a:gd name="connsiteX51" fmla="*/ 5735 w 1825371"/>
              <a:gd name="connsiteY51" fmla="*/ 17231 h 4705763"/>
              <a:gd name="connsiteX52" fmla="*/ 902 w 1825371"/>
              <a:gd name="connsiteY52" fmla="*/ 4114 h 4705763"/>
              <a:gd name="connsiteX53" fmla="*/ 15747 w 1825371"/>
              <a:gd name="connsiteY53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125245 w 1825371"/>
              <a:gd name="connsiteY35" fmla="*/ 1293464 h 4705763"/>
              <a:gd name="connsiteX36" fmla="*/ 1096247 w 1825371"/>
              <a:gd name="connsiteY36" fmla="*/ 1270681 h 4705763"/>
              <a:gd name="connsiteX37" fmla="*/ 984400 w 1825371"/>
              <a:gd name="connsiteY37" fmla="*/ 1242374 h 4705763"/>
              <a:gd name="connsiteX38" fmla="*/ 977149 w 1825371"/>
              <a:gd name="connsiteY38" fmla="*/ 1225458 h 4705763"/>
              <a:gd name="connsiteX39" fmla="*/ 983019 w 1825371"/>
              <a:gd name="connsiteY39" fmla="*/ 1189902 h 4705763"/>
              <a:gd name="connsiteX40" fmla="*/ 1016158 w 1825371"/>
              <a:gd name="connsiteY40" fmla="*/ 1097041 h 4705763"/>
              <a:gd name="connsiteX41" fmla="*/ 1055513 w 1825371"/>
              <a:gd name="connsiteY41" fmla="*/ 1078055 h 4705763"/>
              <a:gd name="connsiteX42" fmla="*/ 1097628 w 1825371"/>
              <a:gd name="connsiteY42" fmla="*/ 1104290 h 4705763"/>
              <a:gd name="connsiteX43" fmla="*/ 1115579 w 1825371"/>
              <a:gd name="connsiteY43" fmla="*/ 1107743 h 4705763"/>
              <a:gd name="connsiteX44" fmla="*/ 1177026 w 1825371"/>
              <a:gd name="connsiteY44" fmla="*/ 1087375 h 4705763"/>
              <a:gd name="connsiteX45" fmla="*/ 1179787 w 1825371"/>
              <a:gd name="connsiteY45" fmla="*/ 1073913 h 4705763"/>
              <a:gd name="connsiteX46" fmla="*/ 1135255 w 1825371"/>
              <a:gd name="connsiteY46" fmla="*/ 1041117 h 4705763"/>
              <a:gd name="connsiteX47" fmla="*/ 939868 w 1825371"/>
              <a:gd name="connsiteY47" fmla="*/ 883702 h 4705763"/>
              <a:gd name="connsiteX48" fmla="*/ 549783 w 1825371"/>
              <a:gd name="connsiteY48" fmla="*/ 496379 h 4705763"/>
              <a:gd name="connsiteX49" fmla="*/ 40947 w 1825371"/>
              <a:gd name="connsiteY49" fmla="*/ 48990 h 4705763"/>
              <a:gd name="connsiteX50" fmla="*/ 5735 w 1825371"/>
              <a:gd name="connsiteY50" fmla="*/ 17231 h 4705763"/>
              <a:gd name="connsiteX51" fmla="*/ 902 w 1825371"/>
              <a:gd name="connsiteY51" fmla="*/ 4114 h 4705763"/>
              <a:gd name="connsiteX52" fmla="*/ 15747 w 1825371"/>
              <a:gd name="connsiteY52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125245 w 1825371"/>
              <a:gd name="connsiteY34" fmla="*/ 1293464 h 4705763"/>
              <a:gd name="connsiteX35" fmla="*/ 1096247 w 1825371"/>
              <a:gd name="connsiteY35" fmla="*/ 1270681 h 4705763"/>
              <a:gd name="connsiteX36" fmla="*/ 984400 w 1825371"/>
              <a:gd name="connsiteY36" fmla="*/ 1242374 h 4705763"/>
              <a:gd name="connsiteX37" fmla="*/ 977149 w 1825371"/>
              <a:gd name="connsiteY37" fmla="*/ 1225458 h 4705763"/>
              <a:gd name="connsiteX38" fmla="*/ 983019 w 1825371"/>
              <a:gd name="connsiteY38" fmla="*/ 1189902 h 4705763"/>
              <a:gd name="connsiteX39" fmla="*/ 1016158 w 1825371"/>
              <a:gd name="connsiteY39" fmla="*/ 1097041 h 4705763"/>
              <a:gd name="connsiteX40" fmla="*/ 1055513 w 1825371"/>
              <a:gd name="connsiteY40" fmla="*/ 1078055 h 4705763"/>
              <a:gd name="connsiteX41" fmla="*/ 1097628 w 1825371"/>
              <a:gd name="connsiteY41" fmla="*/ 1104290 h 4705763"/>
              <a:gd name="connsiteX42" fmla="*/ 1115579 w 1825371"/>
              <a:gd name="connsiteY42" fmla="*/ 1107743 h 4705763"/>
              <a:gd name="connsiteX43" fmla="*/ 1177026 w 1825371"/>
              <a:gd name="connsiteY43" fmla="*/ 1087375 h 4705763"/>
              <a:gd name="connsiteX44" fmla="*/ 1179787 w 1825371"/>
              <a:gd name="connsiteY44" fmla="*/ 1073913 h 4705763"/>
              <a:gd name="connsiteX45" fmla="*/ 1135255 w 1825371"/>
              <a:gd name="connsiteY45" fmla="*/ 1041117 h 4705763"/>
              <a:gd name="connsiteX46" fmla="*/ 939868 w 1825371"/>
              <a:gd name="connsiteY46" fmla="*/ 883702 h 4705763"/>
              <a:gd name="connsiteX47" fmla="*/ 549783 w 1825371"/>
              <a:gd name="connsiteY47" fmla="*/ 496379 h 4705763"/>
              <a:gd name="connsiteX48" fmla="*/ 40947 w 1825371"/>
              <a:gd name="connsiteY48" fmla="*/ 48990 h 4705763"/>
              <a:gd name="connsiteX49" fmla="*/ 5735 w 1825371"/>
              <a:gd name="connsiteY49" fmla="*/ 17231 h 4705763"/>
              <a:gd name="connsiteX50" fmla="*/ 902 w 1825371"/>
              <a:gd name="connsiteY50" fmla="*/ 4114 h 4705763"/>
              <a:gd name="connsiteX51" fmla="*/ 15747 w 1825371"/>
              <a:gd name="connsiteY51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125245 w 1825371"/>
              <a:gd name="connsiteY33" fmla="*/ 1293464 h 4705763"/>
              <a:gd name="connsiteX34" fmla="*/ 1096247 w 1825371"/>
              <a:gd name="connsiteY34" fmla="*/ 1270681 h 4705763"/>
              <a:gd name="connsiteX35" fmla="*/ 984400 w 1825371"/>
              <a:gd name="connsiteY35" fmla="*/ 1242374 h 4705763"/>
              <a:gd name="connsiteX36" fmla="*/ 977149 w 1825371"/>
              <a:gd name="connsiteY36" fmla="*/ 1225458 h 4705763"/>
              <a:gd name="connsiteX37" fmla="*/ 983019 w 1825371"/>
              <a:gd name="connsiteY37" fmla="*/ 1189902 h 4705763"/>
              <a:gd name="connsiteX38" fmla="*/ 1016158 w 1825371"/>
              <a:gd name="connsiteY38" fmla="*/ 1097041 h 4705763"/>
              <a:gd name="connsiteX39" fmla="*/ 1055513 w 1825371"/>
              <a:gd name="connsiteY39" fmla="*/ 1078055 h 4705763"/>
              <a:gd name="connsiteX40" fmla="*/ 1097628 w 1825371"/>
              <a:gd name="connsiteY40" fmla="*/ 1104290 h 4705763"/>
              <a:gd name="connsiteX41" fmla="*/ 1115579 w 1825371"/>
              <a:gd name="connsiteY41" fmla="*/ 1107743 h 4705763"/>
              <a:gd name="connsiteX42" fmla="*/ 1177026 w 1825371"/>
              <a:gd name="connsiteY42" fmla="*/ 1087375 h 4705763"/>
              <a:gd name="connsiteX43" fmla="*/ 1179787 w 1825371"/>
              <a:gd name="connsiteY43" fmla="*/ 1073913 h 4705763"/>
              <a:gd name="connsiteX44" fmla="*/ 1135255 w 1825371"/>
              <a:gd name="connsiteY44" fmla="*/ 1041117 h 4705763"/>
              <a:gd name="connsiteX45" fmla="*/ 939868 w 1825371"/>
              <a:gd name="connsiteY45" fmla="*/ 883702 h 4705763"/>
              <a:gd name="connsiteX46" fmla="*/ 549783 w 1825371"/>
              <a:gd name="connsiteY46" fmla="*/ 496379 h 4705763"/>
              <a:gd name="connsiteX47" fmla="*/ 40947 w 1825371"/>
              <a:gd name="connsiteY47" fmla="*/ 48990 h 4705763"/>
              <a:gd name="connsiteX48" fmla="*/ 5735 w 1825371"/>
              <a:gd name="connsiteY48" fmla="*/ 17231 h 4705763"/>
              <a:gd name="connsiteX49" fmla="*/ 902 w 1825371"/>
              <a:gd name="connsiteY49" fmla="*/ 4114 h 4705763"/>
              <a:gd name="connsiteX50" fmla="*/ 15747 w 1825371"/>
              <a:gd name="connsiteY50" fmla="*/ 1352 h 4705763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97493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17106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78613 w 1825371"/>
              <a:gd name="connsiteY32" fmla="*/ 4685667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825371" h="4705764">
                <a:moveTo>
                  <a:pt x="15747" y="1352"/>
                </a:moveTo>
                <a:cubicBezTo>
                  <a:pt x="40601" y="7565"/>
                  <a:pt x="63040" y="19648"/>
                  <a:pt x="83062" y="34837"/>
                </a:cubicBezTo>
                <a:cubicBezTo>
                  <a:pt x="383392" y="265435"/>
                  <a:pt x="679236" y="502594"/>
                  <a:pt x="961270" y="755975"/>
                </a:cubicBezTo>
                <a:cubicBezTo>
                  <a:pt x="1053096" y="838826"/>
                  <a:pt x="1146302" y="919949"/>
                  <a:pt x="1239162" y="1001764"/>
                </a:cubicBezTo>
                <a:cubicBezTo>
                  <a:pt x="1250209" y="1011775"/>
                  <a:pt x="1262636" y="1020060"/>
                  <a:pt x="1276445" y="1025928"/>
                </a:cubicBezTo>
                <a:cubicBezTo>
                  <a:pt x="1296466" y="1034213"/>
                  <a:pt x="1308204" y="1030070"/>
                  <a:pt x="1316489" y="1009704"/>
                </a:cubicBezTo>
                <a:cubicBezTo>
                  <a:pt x="1325119" y="988991"/>
                  <a:pt x="1335821" y="968968"/>
                  <a:pt x="1345141" y="948602"/>
                </a:cubicBezTo>
                <a:cubicBezTo>
                  <a:pt x="1359640" y="917188"/>
                  <a:pt x="1382079" y="892679"/>
                  <a:pt x="1407624" y="869894"/>
                </a:cubicBezTo>
                <a:cubicBezTo>
                  <a:pt x="1517055" y="771511"/>
                  <a:pt x="1634081" y="682447"/>
                  <a:pt x="1749379" y="590967"/>
                </a:cubicBezTo>
                <a:cubicBezTo>
                  <a:pt x="1768711" y="575432"/>
                  <a:pt x="1788043" y="559898"/>
                  <a:pt x="1808066" y="545399"/>
                </a:cubicBezTo>
                <a:cubicBezTo>
                  <a:pt x="1819802" y="536769"/>
                  <a:pt x="1824634" y="539875"/>
                  <a:pt x="1825326" y="554375"/>
                </a:cubicBezTo>
                <a:cubicBezTo>
                  <a:pt x="1826015" y="568528"/>
                  <a:pt x="1818766" y="579575"/>
                  <a:pt x="1811172" y="590277"/>
                </a:cubicBezTo>
                <a:cubicBezTo>
                  <a:pt x="1783900" y="628594"/>
                  <a:pt x="1751451" y="662770"/>
                  <a:pt x="1721073" y="698326"/>
                </a:cubicBezTo>
                <a:cubicBezTo>
                  <a:pt x="1613023" y="825017"/>
                  <a:pt x="1503592" y="950328"/>
                  <a:pt x="1385877" y="1068389"/>
                </a:cubicBezTo>
                <a:cubicBezTo>
                  <a:pt x="1376900" y="1077364"/>
                  <a:pt x="1378626" y="1088411"/>
                  <a:pt x="1376211" y="1098421"/>
                </a:cubicBezTo>
                <a:cubicBezTo>
                  <a:pt x="1373449" y="1111885"/>
                  <a:pt x="1370342" y="1124658"/>
                  <a:pt x="1361366" y="1135359"/>
                </a:cubicBezTo>
                <a:cubicBezTo>
                  <a:pt x="1352736" y="1145370"/>
                  <a:pt x="1352736" y="1157798"/>
                  <a:pt x="1355153" y="1169879"/>
                </a:cubicBezTo>
                <a:cubicBezTo>
                  <a:pt x="1369651" y="1242374"/>
                  <a:pt x="1391054" y="1312796"/>
                  <a:pt x="1409696" y="1384253"/>
                </a:cubicBezTo>
                <a:cubicBezTo>
                  <a:pt x="1440764" y="1505076"/>
                  <a:pt x="1484260" y="1622102"/>
                  <a:pt x="1524994" y="1739817"/>
                </a:cubicBezTo>
                <a:cubicBezTo>
                  <a:pt x="1577466" y="1890674"/>
                  <a:pt x="1615785" y="2046016"/>
                  <a:pt x="1659971" y="2199288"/>
                </a:cubicBezTo>
                <a:cubicBezTo>
                  <a:pt x="1707264" y="2363607"/>
                  <a:pt x="1746273" y="2529998"/>
                  <a:pt x="1782864" y="2697077"/>
                </a:cubicBezTo>
                <a:cubicBezTo>
                  <a:pt x="1788043" y="2720207"/>
                  <a:pt x="1790460" y="2744026"/>
                  <a:pt x="1794257" y="2767845"/>
                </a:cubicBezTo>
                <a:cubicBezTo>
                  <a:pt x="1794947" y="2771643"/>
                  <a:pt x="1797364" y="2776822"/>
                  <a:pt x="1791840" y="2778202"/>
                </a:cubicBezTo>
                <a:cubicBezTo>
                  <a:pt x="1786662" y="2779583"/>
                  <a:pt x="1785626" y="2774405"/>
                  <a:pt x="1784245" y="2770607"/>
                </a:cubicBezTo>
                <a:cubicBezTo>
                  <a:pt x="1770437" y="2734360"/>
                  <a:pt x="1756975" y="2698113"/>
                  <a:pt x="1746617" y="2660831"/>
                </a:cubicBezTo>
                <a:cubicBezTo>
                  <a:pt x="1673779" y="2397784"/>
                  <a:pt x="1595762" y="2136116"/>
                  <a:pt x="1513602" y="1875484"/>
                </a:cubicBezTo>
                <a:cubicBezTo>
                  <a:pt x="1448704" y="1670431"/>
                  <a:pt x="1380007" y="1466759"/>
                  <a:pt x="1297158" y="1267919"/>
                </a:cubicBezTo>
                <a:cubicBezTo>
                  <a:pt x="1289909" y="1251004"/>
                  <a:pt x="1282659" y="1234089"/>
                  <a:pt x="1275064" y="1217173"/>
                </a:cubicBezTo>
                <a:cubicBezTo>
                  <a:pt x="1269541" y="1205436"/>
                  <a:pt x="1260911" y="1191628"/>
                  <a:pt x="1248483" y="1193353"/>
                </a:cubicBezTo>
                <a:cubicBezTo>
                  <a:pt x="1238128" y="1194734"/>
                  <a:pt x="1235711" y="1211649"/>
                  <a:pt x="1232949" y="1222351"/>
                </a:cubicBezTo>
                <a:cubicBezTo>
                  <a:pt x="1228115" y="1242374"/>
                  <a:pt x="1229843" y="1262740"/>
                  <a:pt x="1230877" y="1283108"/>
                </a:cubicBezTo>
                <a:cubicBezTo>
                  <a:pt x="1226287" y="2417294"/>
                  <a:pt x="1231744" y="3571578"/>
                  <a:pt x="1227154" y="4705764"/>
                </a:cubicBezTo>
                <a:lnTo>
                  <a:pt x="998710" y="4695715"/>
                </a:lnTo>
                <a:cubicBezTo>
                  <a:pt x="1020244" y="4110251"/>
                  <a:pt x="1098940" y="1865978"/>
                  <a:pt x="1125245" y="1293464"/>
                </a:cubicBezTo>
                <a:cubicBezTo>
                  <a:pt x="1126970" y="1262740"/>
                  <a:pt x="1124553" y="1258943"/>
                  <a:pt x="1096247" y="1270681"/>
                </a:cubicBezTo>
                <a:cubicBezTo>
                  <a:pt x="1050679" y="1289666"/>
                  <a:pt x="1018575" y="1263776"/>
                  <a:pt x="984400" y="1242374"/>
                </a:cubicBezTo>
                <a:cubicBezTo>
                  <a:pt x="979221" y="1238921"/>
                  <a:pt x="977841" y="1232017"/>
                  <a:pt x="977149" y="1225458"/>
                </a:cubicBezTo>
                <a:cubicBezTo>
                  <a:pt x="976115" y="1213030"/>
                  <a:pt x="978530" y="1200949"/>
                  <a:pt x="983019" y="1189902"/>
                </a:cubicBezTo>
                <a:cubicBezTo>
                  <a:pt x="995792" y="1159523"/>
                  <a:pt x="1005457" y="1128109"/>
                  <a:pt x="1016158" y="1097041"/>
                </a:cubicBezTo>
                <a:cubicBezTo>
                  <a:pt x="1022717" y="1078055"/>
                  <a:pt x="1036181" y="1071841"/>
                  <a:pt x="1055513" y="1078055"/>
                </a:cubicBezTo>
                <a:cubicBezTo>
                  <a:pt x="1071737" y="1082887"/>
                  <a:pt x="1084855" y="1093934"/>
                  <a:pt x="1097628" y="1104290"/>
                </a:cubicBezTo>
                <a:cubicBezTo>
                  <a:pt x="1103496" y="1108779"/>
                  <a:pt x="1107983" y="1110504"/>
                  <a:pt x="1115579" y="1107743"/>
                </a:cubicBezTo>
                <a:cubicBezTo>
                  <a:pt x="1135945" y="1100147"/>
                  <a:pt x="1156313" y="1093589"/>
                  <a:pt x="1177026" y="1087375"/>
                </a:cubicBezTo>
                <a:cubicBezTo>
                  <a:pt x="1187726" y="1084268"/>
                  <a:pt x="1185655" y="1080126"/>
                  <a:pt x="1179787" y="1073913"/>
                </a:cubicBezTo>
                <a:cubicBezTo>
                  <a:pt x="1166668" y="1060449"/>
                  <a:pt x="1151134" y="1050438"/>
                  <a:pt x="1135255" y="1041117"/>
                </a:cubicBezTo>
                <a:cubicBezTo>
                  <a:pt x="1062417" y="998311"/>
                  <a:pt x="998207" y="944460"/>
                  <a:pt x="939868" y="883702"/>
                </a:cubicBezTo>
                <a:cubicBezTo>
                  <a:pt x="813177" y="751488"/>
                  <a:pt x="683379" y="622035"/>
                  <a:pt x="549783" y="496379"/>
                </a:cubicBezTo>
                <a:cubicBezTo>
                  <a:pt x="385809" y="341382"/>
                  <a:pt x="211479" y="197084"/>
                  <a:pt x="40947" y="48990"/>
                </a:cubicBezTo>
                <a:cubicBezTo>
                  <a:pt x="28864" y="38635"/>
                  <a:pt x="17472" y="27933"/>
                  <a:pt x="5735" y="17231"/>
                </a:cubicBezTo>
                <a:cubicBezTo>
                  <a:pt x="2283" y="13780"/>
                  <a:pt x="-1859" y="9292"/>
                  <a:pt x="902" y="4114"/>
                </a:cubicBezTo>
                <a:cubicBezTo>
                  <a:pt x="4009" y="-1755"/>
                  <a:pt x="10568" y="-29"/>
                  <a:pt x="15747" y="1352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 w="226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52FCF1B-F1CF-41E9-84C6-9D8022AAF358}"/>
              </a:ext>
            </a:extLst>
          </p:cNvPr>
          <p:cNvSpPr/>
          <p:nvPr userDrawn="1"/>
        </p:nvSpPr>
        <p:spPr>
          <a:xfrm>
            <a:off x="1394131" y="5094016"/>
            <a:ext cx="698917" cy="1801790"/>
          </a:xfrm>
          <a:custGeom>
            <a:avLst/>
            <a:gdLst>
              <a:gd name="connsiteX0" fmla="*/ 15747 w 1825371"/>
              <a:gd name="connsiteY0" fmla="*/ 1352 h 3047785"/>
              <a:gd name="connsiteX1" fmla="*/ 83062 w 1825371"/>
              <a:gd name="connsiteY1" fmla="*/ 34837 h 3047785"/>
              <a:gd name="connsiteX2" fmla="*/ 961270 w 1825371"/>
              <a:gd name="connsiteY2" fmla="*/ 755975 h 3047785"/>
              <a:gd name="connsiteX3" fmla="*/ 1239162 w 1825371"/>
              <a:gd name="connsiteY3" fmla="*/ 1001764 h 3047785"/>
              <a:gd name="connsiteX4" fmla="*/ 1276445 w 1825371"/>
              <a:gd name="connsiteY4" fmla="*/ 1025928 h 3047785"/>
              <a:gd name="connsiteX5" fmla="*/ 1316489 w 1825371"/>
              <a:gd name="connsiteY5" fmla="*/ 1009704 h 3047785"/>
              <a:gd name="connsiteX6" fmla="*/ 1345141 w 1825371"/>
              <a:gd name="connsiteY6" fmla="*/ 948602 h 3047785"/>
              <a:gd name="connsiteX7" fmla="*/ 1407624 w 1825371"/>
              <a:gd name="connsiteY7" fmla="*/ 869894 h 3047785"/>
              <a:gd name="connsiteX8" fmla="*/ 1749379 w 1825371"/>
              <a:gd name="connsiteY8" fmla="*/ 590967 h 3047785"/>
              <a:gd name="connsiteX9" fmla="*/ 1808066 w 1825371"/>
              <a:gd name="connsiteY9" fmla="*/ 545399 h 3047785"/>
              <a:gd name="connsiteX10" fmla="*/ 1825326 w 1825371"/>
              <a:gd name="connsiteY10" fmla="*/ 554375 h 3047785"/>
              <a:gd name="connsiteX11" fmla="*/ 1811172 w 1825371"/>
              <a:gd name="connsiteY11" fmla="*/ 590277 h 3047785"/>
              <a:gd name="connsiteX12" fmla="*/ 1721073 w 1825371"/>
              <a:gd name="connsiteY12" fmla="*/ 698326 h 3047785"/>
              <a:gd name="connsiteX13" fmla="*/ 1385877 w 1825371"/>
              <a:gd name="connsiteY13" fmla="*/ 1068389 h 3047785"/>
              <a:gd name="connsiteX14" fmla="*/ 1376211 w 1825371"/>
              <a:gd name="connsiteY14" fmla="*/ 1098421 h 3047785"/>
              <a:gd name="connsiteX15" fmla="*/ 1361366 w 1825371"/>
              <a:gd name="connsiteY15" fmla="*/ 1135359 h 3047785"/>
              <a:gd name="connsiteX16" fmla="*/ 1355153 w 1825371"/>
              <a:gd name="connsiteY16" fmla="*/ 1169879 h 3047785"/>
              <a:gd name="connsiteX17" fmla="*/ 1409696 w 1825371"/>
              <a:gd name="connsiteY17" fmla="*/ 1384253 h 3047785"/>
              <a:gd name="connsiteX18" fmla="*/ 1524994 w 1825371"/>
              <a:gd name="connsiteY18" fmla="*/ 1739817 h 3047785"/>
              <a:gd name="connsiteX19" fmla="*/ 1659971 w 1825371"/>
              <a:gd name="connsiteY19" fmla="*/ 2199288 h 3047785"/>
              <a:gd name="connsiteX20" fmla="*/ 1782864 w 1825371"/>
              <a:gd name="connsiteY20" fmla="*/ 2697077 h 3047785"/>
              <a:gd name="connsiteX21" fmla="*/ 1794257 w 1825371"/>
              <a:gd name="connsiteY21" fmla="*/ 2767845 h 3047785"/>
              <a:gd name="connsiteX22" fmla="*/ 1791840 w 1825371"/>
              <a:gd name="connsiteY22" fmla="*/ 2778202 h 3047785"/>
              <a:gd name="connsiteX23" fmla="*/ 1784245 w 1825371"/>
              <a:gd name="connsiteY23" fmla="*/ 2770607 h 3047785"/>
              <a:gd name="connsiteX24" fmla="*/ 1746617 w 1825371"/>
              <a:gd name="connsiteY24" fmla="*/ 2660831 h 3047785"/>
              <a:gd name="connsiteX25" fmla="*/ 1513602 w 1825371"/>
              <a:gd name="connsiteY25" fmla="*/ 1875484 h 3047785"/>
              <a:gd name="connsiteX26" fmla="*/ 1297158 w 1825371"/>
              <a:gd name="connsiteY26" fmla="*/ 1267919 h 3047785"/>
              <a:gd name="connsiteX27" fmla="*/ 1275064 w 1825371"/>
              <a:gd name="connsiteY27" fmla="*/ 1217173 h 3047785"/>
              <a:gd name="connsiteX28" fmla="*/ 1248483 w 1825371"/>
              <a:gd name="connsiteY28" fmla="*/ 1193353 h 3047785"/>
              <a:gd name="connsiteX29" fmla="*/ 1232949 w 1825371"/>
              <a:gd name="connsiteY29" fmla="*/ 1222351 h 3047785"/>
              <a:gd name="connsiteX30" fmla="*/ 1230877 w 1825371"/>
              <a:gd name="connsiteY30" fmla="*/ 1283108 h 3047785"/>
              <a:gd name="connsiteX31" fmla="*/ 1243305 w 1825371"/>
              <a:gd name="connsiteY31" fmla="*/ 1522336 h 3047785"/>
              <a:gd name="connsiteX32" fmla="*/ 1261256 w 1825371"/>
              <a:gd name="connsiteY32" fmla="*/ 1854772 h 3047785"/>
              <a:gd name="connsiteX33" fmla="*/ 1272647 w 1825371"/>
              <a:gd name="connsiteY33" fmla="*/ 2086061 h 3047785"/>
              <a:gd name="connsiteX34" fmla="*/ 1288528 w 1825371"/>
              <a:gd name="connsiteY34" fmla="*/ 2674639 h 3047785"/>
              <a:gd name="connsiteX35" fmla="*/ 1297493 w 1825371"/>
              <a:gd name="connsiteY35" fmla="*/ 3047785 h 3047785"/>
              <a:gd name="connsiteX36" fmla="*/ 1048951 w 1825371"/>
              <a:gd name="connsiteY36" fmla="*/ 3047785 h 3047785"/>
              <a:gd name="connsiteX37" fmla="*/ 1053441 w 1825371"/>
              <a:gd name="connsiteY37" fmla="*/ 2920082 h 3047785"/>
              <a:gd name="connsiteX38" fmla="*/ 1066213 w 1825371"/>
              <a:gd name="connsiteY38" fmla="*/ 2573839 h 3047785"/>
              <a:gd name="connsiteX39" fmla="*/ 1077951 w 1825371"/>
              <a:gd name="connsiteY39" fmla="*/ 2236916 h 3047785"/>
              <a:gd name="connsiteX40" fmla="*/ 1093485 w 1825371"/>
              <a:gd name="connsiteY40" fmla="*/ 1882733 h 3047785"/>
              <a:gd name="connsiteX41" fmla="*/ 1107983 w 1825371"/>
              <a:gd name="connsiteY41" fmla="*/ 1608293 h 3047785"/>
              <a:gd name="connsiteX42" fmla="*/ 1125245 w 1825371"/>
              <a:gd name="connsiteY42" fmla="*/ 1293464 h 3047785"/>
              <a:gd name="connsiteX43" fmla="*/ 1096247 w 1825371"/>
              <a:gd name="connsiteY43" fmla="*/ 1270681 h 3047785"/>
              <a:gd name="connsiteX44" fmla="*/ 984400 w 1825371"/>
              <a:gd name="connsiteY44" fmla="*/ 1242374 h 3047785"/>
              <a:gd name="connsiteX45" fmla="*/ 977149 w 1825371"/>
              <a:gd name="connsiteY45" fmla="*/ 1225458 h 3047785"/>
              <a:gd name="connsiteX46" fmla="*/ 983019 w 1825371"/>
              <a:gd name="connsiteY46" fmla="*/ 1189902 h 3047785"/>
              <a:gd name="connsiteX47" fmla="*/ 1016158 w 1825371"/>
              <a:gd name="connsiteY47" fmla="*/ 1097041 h 3047785"/>
              <a:gd name="connsiteX48" fmla="*/ 1055513 w 1825371"/>
              <a:gd name="connsiteY48" fmla="*/ 1078055 h 3047785"/>
              <a:gd name="connsiteX49" fmla="*/ 1097628 w 1825371"/>
              <a:gd name="connsiteY49" fmla="*/ 1104290 h 3047785"/>
              <a:gd name="connsiteX50" fmla="*/ 1115579 w 1825371"/>
              <a:gd name="connsiteY50" fmla="*/ 1107743 h 3047785"/>
              <a:gd name="connsiteX51" fmla="*/ 1177026 w 1825371"/>
              <a:gd name="connsiteY51" fmla="*/ 1087375 h 3047785"/>
              <a:gd name="connsiteX52" fmla="*/ 1179787 w 1825371"/>
              <a:gd name="connsiteY52" fmla="*/ 1073913 h 3047785"/>
              <a:gd name="connsiteX53" fmla="*/ 1135255 w 1825371"/>
              <a:gd name="connsiteY53" fmla="*/ 1041117 h 3047785"/>
              <a:gd name="connsiteX54" fmla="*/ 939868 w 1825371"/>
              <a:gd name="connsiteY54" fmla="*/ 883702 h 3047785"/>
              <a:gd name="connsiteX55" fmla="*/ 549783 w 1825371"/>
              <a:gd name="connsiteY55" fmla="*/ 496379 h 3047785"/>
              <a:gd name="connsiteX56" fmla="*/ 40947 w 1825371"/>
              <a:gd name="connsiteY56" fmla="*/ 48990 h 3047785"/>
              <a:gd name="connsiteX57" fmla="*/ 5735 w 1825371"/>
              <a:gd name="connsiteY57" fmla="*/ 17231 h 3047785"/>
              <a:gd name="connsiteX58" fmla="*/ 902 w 1825371"/>
              <a:gd name="connsiteY58" fmla="*/ 4114 h 3047785"/>
              <a:gd name="connsiteX59" fmla="*/ 15747 w 1825371"/>
              <a:gd name="connsiteY59" fmla="*/ 1352 h 3047785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3047785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88528 w 1825371"/>
              <a:gd name="connsiteY34" fmla="*/ 2674639 h 4705763"/>
              <a:gd name="connsiteX35" fmla="*/ 1297493 w 1825371"/>
              <a:gd name="connsiteY35" fmla="*/ 4685667 h 4705763"/>
              <a:gd name="connsiteX36" fmla="*/ 938419 w 1825371"/>
              <a:gd name="connsiteY36" fmla="*/ 4705763 h 4705763"/>
              <a:gd name="connsiteX37" fmla="*/ 1053441 w 1825371"/>
              <a:gd name="connsiteY37" fmla="*/ 2920082 h 4705763"/>
              <a:gd name="connsiteX38" fmla="*/ 1066213 w 1825371"/>
              <a:gd name="connsiteY38" fmla="*/ 2573839 h 4705763"/>
              <a:gd name="connsiteX39" fmla="*/ 1077951 w 1825371"/>
              <a:gd name="connsiteY39" fmla="*/ 2236916 h 4705763"/>
              <a:gd name="connsiteX40" fmla="*/ 1093485 w 1825371"/>
              <a:gd name="connsiteY40" fmla="*/ 1882733 h 4705763"/>
              <a:gd name="connsiteX41" fmla="*/ 1107983 w 1825371"/>
              <a:gd name="connsiteY41" fmla="*/ 1608293 h 4705763"/>
              <a:gd name="connsiteX42" fmla="*/ 1125245 w 1825371"/>
              <a:gd name="connsiteY42" fmla="*/ 1293464 h 4705763"/>
              <a:gd name="connsiteX43" fmla="*/ 1096247 w 1825371"/>
              <a:gd name="connsiteY43" fmla="*/ 1270681 h 4705763"/>
              <a:gd name="connsiteX44" fmla="*/ 984400 w 1825371"/>
              <a:gd name="connsiteY44" fmla="*/ 1242374 h 4705763"/>
              <a:gd name="connsiteX45" fmla="*/ 977149 w 1825371"/>
              <a:gd name="connsiteY45" fmla="*/ 1225458 h 4705763"/>
              <a:gd name="connsiteX46" fmla="*/ 983019 w 1825371"/>
              <a:gd name="connsiteY46" fmla="*/ 1189902 h 4705763"/>
              <a:gd name="connsiteX47" fmla="*/ 1016158 w 1825371"/>
              <a:gd name="connsiteY47" fmla="*/ 1097041 h 4705763"/>
              <a:gd name="connsiteX48" fmla="*/ 1055513 w 1825371"/>
              <a:gd name="connsiteY48" fmla="*/ 1078055 h 4705763"/>
              <a:gd name="connsiteX49" fmla="*/ 1097628 w 1825371"/>
              <a:gd name="connsiteY49" fmla="*/ 1104290 h 4705763"/>
              <a:gd name="connsiteX50" fmla="*/ 1115579 w 1825371"/>
              <a:gd name="connsiteY50" fmla="*/ 1107743 h 4705763"/>
              <a:gd name="connsiteX51" fmla="*/ 1177026 w 1825371"/>
              <a:gd name="connsiteY51" fmla="*/ 1087375 h 4705763"/>
              <a:gd name="connsiteX52" fmla="*/ 1179787 w 1825371"/>
              <a:gd name="connsiteY52" fmla="*/ 1073913 h 4705763"/>
              <a:gd name="connsiteX53" fmla="*/ 1135255 w 1825371"/>
              <a:gd name="connsiteY53" fmla="*/ 1041117 h 4705763"/>
              <a:gd name="connsiteX54" fmla="*/ 939868 w 1825371"/>
              <a:gd name="connsiteY54" fmla="*/ 883702 h 4705763"/>
              <a:gd name="connsiteX55" fmla="*/ 549783 w 1825371"/>
              <a:gd name="connsiteY55" fmla="*/ 496379 h 4705763"/>
              <a:gd name="connsiteX56" fmla="*/ 40947 w 1825371"/>
              <a:gd name="connsiteY56" fmla="*/ 48990 h 4705763"/>
              <a:gd name="connsiteX57" fmla="*/ 5735 w 1825371"/>
              <a:gd name="connsiteY57" fmla="*/ 17231 h 4705763"/>
              <a:gd name="connsiteX58" fmla="*/ 902 w 1825371"/>
              <a:gd name="connsiteY58" fmla="*/ 4114 h 4705763"/>
              <a:gd name="connsiteX59" fmla="*/ 15747 w 1825371"/>
              <a:gd name="connsiteY59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72647 w 1825371"/>
              <a:gd name="connsiteY33" fmla="*/ 2086061 h 4705763"/>
              <a:gd name="connsiteX34" fmla="*/ 1297493 w 1825371"/>
              <a:gd name="connsiteY34" fmla="*/ 4685667 h 4705763"/>
              <a:gd name="connsiteX35" fmla="*/ 938419 w 1825371"/>
              <a:gd name="connsiteY35" fmla="*/ 4705763 h 4705763"/>
              <a:gd name="connsiteX36" fmla="*/ 1053441 w 1825371"/>
              <a:gd name="connsiteY36" fmla="*/ 2920082 h 4705763"/>
              <a:gd name="connsiteX37" fmla="*/ 1066213 w 1825371"/>
              <a:gd name="connsiteY37" fmla="*/ 2573839 h 4705763"/>
              <a:gd name="connsiteX38" fmla="*/ 1077951 w 1825371"/>
              <a:gd name="connsiteY38" fmla="*/ 2236916 h 4705763"/>
              <a:gd name="connsiteX39" fmla="*/ 1093485 w 1825371"/>
              <a:gd name="connsiteY39" fmla="*/ 1882733 h 4705763"/>
              <a:gd name="connsiteX40" fmla="*/ 1107983 w 1825371"/>
              <a:gd name="connsiteY40" fmla="*/ 1608293 h 4705763"/>
              <a:gd name="connsiteX41" fmla="*/ 1125245 w 1825371"/>
              <a:gd name="connsiteY41" fmla="*/ 1293464 h 4705763"/>
              <a:gd name="connsiteX42" fmla="*/ 1096247 w 1825371"/>
              <a:gd name="connsiteY42" fmla="*/ 1270681 h 4705763"/>
              <a:gd name="connsiteX43" fmla="*/ 984400 w 1825371"/>
              <a:gd name="connsiteY43" fmla="*/ 1242374 h 4705763"/>
              <a:gd name="connsiteX44" fmla="*/ 977149 w 1825371"/>
              <a:gd name="connsiteY44" fmla="*/ 1225458 h 4705763"/>
              <a:gd name="connsiteX45" fmla="*/ 983019 w 1825371"/>
              <a:gd name="connsiteY45" fmla="*/ 1189902 h 4705763"/>
              <a:gd name="connsiteX46" fmla="*/ 1016158 w 1825371"/>
              <a:gd name="connsiteY46" fmla="*/ 1097041 h 4705763"/>
              <a:gd name="connsiteX47" fmla="*/ 1055513 w 1825371"/>
              <a:gd name="connsiteY47" fmla="*/ 1078055 h 4705763"/>
              <a:gd name="connsiteX48" fmla="*/ 1097628 w 1825371"/>
              <a:gd name="connsiteY48" fmla="*/ 1104290 h 4705763"/>
              <a:gd name="connsiteX49" fmla="*/ 1115579 w 1825371"/>
              <a:gd name="connsiteY49" fmla="*/ 1107743 h 4705763"/>
              <a:gd name="connsiteX50" fmla="*/ 1177026 w 1825371"/>
              <a:gd name="connsiteY50" fmla="*/ 1087375 h 4705763"/>
              <a:gd name="connsiteX51" fmla="*/ 1179787 w 1825371"/>
              <a:gd name="connsiteY51" fmla="*/ 1073913 h 4705763"/>
              <a:gd name="connsiteX52" fmla="*/ 1135255 w 1825371"/>
              <a:gd name="connsiteY52" fmla="*/ 1041117 h 4705763"/>
              <a:gd name="connsiteX53" fmla="*/ 939868 w 1825371"/>
              <a:gd name="connsiteY53" fmla="*/ 883702 h 4705763"/>
              <a:gd name="connsiteX54" fmla="*/ 549783 w 1825371"/>
              <a:gd name="connsiteY54" fmla="*/ 496379 h 4705763"/>
              <a:gd name="connsiteX55" fmla="*/ 40947 w 1825371"/>
              <a:gd name="connsiteY55" fmla="*/ 48990 h 4705763"/>
              <a:gd name="connsiteX56" fmla="*/ 5735 w 1825371"/>
              <a:gd name="connsiteY56" fmla="*/ 17231 h 4705763"/>
              <a:gd name="connsiteX57" fmla="*/ 902 w 1825371"/>
              <a:gd name="connsiteY57" fmla="*/ 4114 h 4705763"/>
              <a:gd name="connsiteX58" fmla="*/ 15747 w 1825371"/>
              <a:gd name="connsiteY58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61256 w 1825371"/>
              <a:gd name="connsiteY32" fmla="*/ 1854772 h 4705763"/>
              <a:gd name="connsiteX33" fmla="*/ 1297493 w 1825371"/>
              <a:gd name="connsiteY33" fmla="*/ 4685667 h 4705763"/>
              <a:gd name="connsiteX34" fmla="*/ 938419 w 1825371"/>
              <a:gd name="connsiteY34" fmla="*/ 4705763 h 4705763"/>
              <a:gd name="connsiteX35" fmla="*/ 1053441 w 1825371"/>
              <a:gd name="connsiteY35" fmla="*/ 2920082 h 4705763"/>
              <a:gd name="connsiteX36" fmla="*/ 1066213 w 1825371"/>
              <a:gd name="connsiteY36" fmla="*/ 2573839 h 4705763"/>
              <a:gd name="connsiteX37" fmla="*/ 1077951 w 1825371"/>
              <a:gd name="connsiteY37" fmla="*/ 2236916 h 4705763"/>
              <a:gd name="connsiteX38" fmla="*/ 1093485 w 1825371"/>
              <a:gd name="connsiteY38" fmla="*/ 1882733 h 4705763"/>
              <a:gd name="connsiteX39" fmla="*/ 1107983 w 1825371"/>
              <a:gd name="connsiteY39" fmla="*/ 1608293 h 4705763"/>
              <a:gd name="connsiteX40" fmla="*/ 1125245 w 1825371"/>
              <a:gd name="connsiteY40" fmla="*/ 1293464 h 4705763"/>
              <a:gd name="connsiteX41" fmla="*/ 1096247 w 1825371"/>
              <a:gd name="connsiteY41" fmla="*/ 1270681 h 4705763"/>
              <a:gd name="connsiteX42" fmla="*/ 984400 w 1825371"/>
              <a:gd name="connsiteY42" fmla="*/ 1242374 h 4705763"/>
              <a:gd name="connsiteX43" fmla="*/ 977149 w 1825371"/>
              <a:gd name="connsiteY43" fmla="*/ 1225458 h 4705763"/>
              <a:gd name="connsiteX44" fmla="*/ 983019 w 1825371"/>
              <a:gd name="connsiteY44" fmla="*/ 1189902 h 4705763"/>
              <a:gd name="connsiteX45" fmla="*/ 1016158 w 1825371"/>
              <a:gd name="connsiteY45" fmla="*/ 1097041 h 4705763"/>
              <a:gd name="connsiteX46" fmla="*/ 1055513 w 1825371"/>
              <a:gd name="connsiteY46" fmla="*/ 1078055 h 4705763"/>
              <a:gd name="connsiteX47" fmla="*/ 1097628 w 1825371"/>
              <a:gd name="connsiteY47" fmla="*/ 1104290 h 4705763"/>
              <a:gd name="connsiteX48" fmla="*/ 1115579 w 1825371"/>
              <a:gd name="connsiteY48" fmla="*/ 1107743 h 4705763"/>
              <a:gd name="connsiteX49" fmla="*/ 1177026 w 1825371"/>
              <a:gd name="connsiteY49" fmla="*/ 1087375 h 4705763"/>
              <a:gd name="connsiteX50" fmla="*/ 1179787 w 1825371"/>
              <a:gd name="connsiteY50" fmla="*/ 1073913 h 4705763"/>
              <a:gd name="connsiteX51" fmla="*/ 1135255 w 1825371"/>
              <a:gd name="connsiteY51" fmla="*/ 1041117 h 4705763"/>
              <a:gd name="connsiteX52" fmla="*/ 939868 w 1825371"/>
              <a:gd name="connsiteY52" fmla="*/ 883702 h 4705763"/>
              <a:gd name="connsiteX53" fmla="*/ 549783 w 1825371"/>
              <a:gd name="connsiteY53" fmla="*/ 496379 h 4705763"/>
              <a:gd name="connsiteX54" fmla="*/ 40947 w 1825371"/>
              <a:gd name="connsiteY54" fmla="*/ 48990 h 4705763"/>
              <a:gd name="connsiteX55" fmla="*/ 5735 w 1825371"/>
              <a:gd name="connsiteY55" fmla="*/ 17231 h 4705763"/>
              <a:gd name="connsiteX56" fmla="*/ 902 w 1825371"/>
              <a:gd name="connsiteY56" fmla="*/ 4114 h 4705763"/>
              <a:gd name="connsiteX57" fmla="*/ 15747 w 1825371"/>
              <a:gd name="connsiteY57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43305 w 1825371"/>
              <a:gd name="connsiteY31" fmla="*/ 1522336 h 4705763"/>
              <a:gd name="connsiteX32" fmla="*/ 1297493 w 1825371"/>
              <a:gd name="connsiteY32" fmla="*/ 4685667 h 4705763"/>
              <a:gd name="connsiteX33" fmla="*/ 938419 w 1825371"/>
              <a:gd name="connsiteY33" fmla="*/ 4705763 h 4705763"/>
              <a:gd name="connsiteX34" fmla="*/ 1053441 w 1825371"/>
              <a:gd name="connsiteY34" fmla="*/ 2920082 h 4705763"/>
              <a:gd name="connsiteX35" fmla="*/ 1066213 w 1825371"/>
              <a:gd name="connsiteY35" fmla="*/ 2573839 h 4705763"/>
              <a:gd name="connsiteX36" fmla="*/ 1077951 w 1825371"/>
              <a:gd name="connsiteY36" fmla="*/ 2236916 h 4705763"/>
              <a:gd name="connsiteX37" fmla="*/ 1093485 w 1825371"/>
              <a:gd name="connsiteY37" fmla="*/ 1882733 h 4705763"/>
              <a:gd name="connsiteX38" fmla="*/ 1107983 w 1825371"/>
              <a:gd name="connsiteY38" fmla="*/ 1608293 h 4705763"/>
              <a:gd name="connsiteX39" fmla="*/ 1125245 w 1825371"/>
              <a:gd name="connsiteY39" fmla="*/ 1293464 h 4705763"/>
              <a:gd name="connsiteX40" fmla="*/ 1096247 w 1825371"/>
              <a:gd name="connsiteY40" fmla="*/ 1270681 h 4705763"/>
              <a:gd name="connsiteX41" fmla="*/ 984400 w 1825371"/>
              <a:gd name="connsiteY41" fmla="*/ 1242374 h 4705763"/>
              <a:gd name="connsiteX42" fmla="*/ 977149 w 1825371"/>
              <a:gd name="connsiteY42" fmla="*/ 1225458 h 4705763"/>
              <a:gd name="connsiteX43" fmla="*/ 983019 w 1825371"/>
              <a:gd name="connsiteY43" fmla="*/ 1189902 h 4705763"/>
              <a:gd name="connsiteX44" fmla="*/ 1016158 w 1825371"/>
              <a:gd name="connsiteY44" fmla="*/ 1097041 h 4705763"/>
              <a:gd name="connsiteX45" fmla="*/ 1055513 w 1825371"/>
              <a:gd name="connsiteY45" fmla="*/ 1078055 h 4705763"/>
              <a:gd name="connsiteX46" fmla="*/ 1097628 w 1825371"/>
              <a:gd name="connsiteY46" fmla="*/ 1104290 h 4705763"/>
              <a:gd name="connsiteX47" fmla="*/ 1115579 w 1825371"/>
              <a:gd name="connsiteY47" fmla="*/ 1107743 h 4705763"/>
              <a:gd name="connsiteX48" fmla="*/ 1177026 w 1825371"/>
              <a:gd name="connsiteY48" fmla="*/ 1087375 h 4705763"/>
              <a:gd name="connsiteX49" fmla="*/ 1179787 w 1825371"/>
              <a:gd name="connsiteY49" fmla="*/ 1073913 h 4705763"/>
              <a:gd name="connsiteX50" fmla="*/ 1135255 w 1825371"/>
              <a:gd name="connsiteY50" fmla="*/ 1041117 h 4705763"/>
              <a:gd name="connsiteX51" fmla="*/ 939868 w 1825371"/>
              <a:gd name="connsiteY51" fmla="*/ 883702 h 4705763"/>
              <a:gd name="connsiteX52" fmla="*/ 549783 w 1825371"/>
              <a:gd name="connsiteY52" fmla="*/ 496379 h 4705763"/>
              <a:gd name="connsiteX53" fmla="*/ 40947 w 1825371"/>
              <a:gd name="connsiteY53" fmla="*/ 48990 h 4705763"/>
              <a:gd name="connsiteX54" fmla="*/ 5735 w 1825371"/>
              <a:gd name="connsiteY54" fmla="*/ 17231 h 4705763"/>
              <a:gd name="connsiteX55" fmla="*/ 902 w 1825371"/>
              <a:gd name="connsiteY55" fmla="*/ 4114 h 4705763"/>
              <a:gd name="connsiteX56" fmla="*/ 15747 w 1825371"/>
              <a:gd name="connsiteY56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07983 w 1825371"/>
              <a:gd name="connsiteY37" fmla="*/ 1608293 h 4705763"/>
              <a:gd name="connsiteX38" fmla="*/ 1125245 w 1825371"/>
              <a:gd name="connsiteY38" fmla="*/ 1293464 h 4705763"/>
              <a:gd name="connsiteX39" fmla="*/ 1096247 w 1825371"/>
              <a:gd name="connsiteY39" fmla="*/ 1270681 h 4705763"/>
              <a:gd name="connsiteX40" fmla="*/ 984400 w 1825371"/>
              <a:gd name="connsiteY40" fmla="*/ 1242374 h 4705763"/>
              <a:gd name="connsiteX41" fmla="*/ 977149 w 1825371"/>
              <a:gd name="connsiteY41" fmla="*/ 1225458 h 4705763"/>
              <a:gd name="connsiteX42" fmla="*/ 983019 w 1825371"/>
              <a:gd name="connsiteY42" fmla="*/ 1189902 h 4705763"/>
              <a:gd name="connsiteX43" fmla="*/ 1016158 w 1825371"/>
              <a:gd name="connsiteY43" fmla="*/ 1097041 h 4705763"/>
              <a:gd name="connsiteX44" fmla="*/ 1055513 w 1825371"/>
              <a:gd name="connsiteY44" fmla="*/ 1078055 h 4705763"/>
              <a:gd name="connsiteX45" fmla="*/ 1097628 w 1825371"/>
              <a:gd name="connsiteY45" fmla="*/ 1104290 h 4705763"/>
              <a:gd name="connsiteX46" fmla="*/ 1115579 w 1825371"/>
              <a:gd name="connsiteY46" fmla="*/ 1107743 h 4705763"/>
              <a:gd name="connsiteX47" fmla="*/ 1177026 w 1825371"/>
              <a:gd name="connsiteY47" fmla="*/ 1087375 h 4705763"/>
              <a:gd name="connsiteX48" fmla="*/ 1179787 w 1825371"/>
              <a:gd name="connsiteY48" fmla="*/ 1073913 h 4705763"/>
              <a:gd name="connsiteX49" fmla="*/ 1135255 w 1825371"/>
              <a:gd name="connsiteY49" fmla="*/ 1041117 h 4705763"/>
              <a:gd name="connsiteX50" fmla="*/ 939868 w 1825371"/>
              <a:gd name="connsiteY50" fmla="*/ 883702 h 4705763"/>
              <a:gd name="connsiteX51" fmla="*/ 549783 w 1825371"/>
              <a:gd name="connsiteY51" fmla="*/ 496379 h 4705763"/>
              <a:gd name="connsiteX52" fmla="*/ 40947 w 1825371"/>
              <a:gd name="connsiteY52" fmla="*/ 48990 h 4705763"/>
              <a:gd name="connsiteX53" fmla="*/ 5735 w 1825371"/>
              <a:gd name="connsiteY53" fmla="*/ 17231 h 4705763"/>
              <a:gd name="connsiteX54" fmla="*/ 902 w 1825371"/>
              <a:gd name="connsiteY54" fmla="*/ 4114 h 4705763"/>
              <a:gd name="connsiteX55" fmla="*/ 15747 w 1825371"/>
              <a:gd name="connsiteY55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093485 w 1825371"/>
              <a:gd name="connsiteY36" fmla="*/ 1882733 h 4705763"/>
              <a:gd name="connsiteX37" fmla="*/ 1125245 w 1825371"/>
              <a:gd name="connsiteY37" fmla="*/ 1293464 h 4705763"/>
              <a:gd name="connsiteX38" fmla="*/ 1096247 w 1825371"/>
              <a:gd name="connsiteY38" fmla="*/ 1270681 h 4705763"/>
              <a:gd name="connsiteX39" fmla="*/ 984400 w 1825371"/>
              <a:gd name="connsiteY39" fmla="*/ 1242374 h 4705763"/>
              <a:gd name="connsiteX40" fmla="*/ 977149 w 1825371"/>
              <a:gd name="connsiteY40" fmla="*/ 1225458 h 4705763"/>
              <a:gd name="connsiteX41" fmla="*/ 983019 w 1825371"/>
              <a:gd name="connsiteY41" fmla="*/ 1189902 h 4705763"/>
              <a:gd name="connsiteX42" fmla="*/ 1016158 w 1825371"/>
              <a:gd name="connsiteY42" fmla="*/ 1097041 h 4705763"/>
              <a:gd name="connsiteX43" fmla="*/ 1055513 w 1825371"/>
              <a:gd name="connsiteY43" fmla="*/ 1078055 h 4705763"/>
              <a:gd name="connsiteX44" fmla="*/ 1097628 w 1825371"/>
              <a:gd name="connsiteY44" fmla="*/ 1104290 h 4705763"/>
              <a:gd name="connsiteX45" fmla="*/ 1115579 w 1825371"/>
              <a:gd name="connsiteY45" fmla="*/ 1107743 h 4705763"/>
              <a:gd name="connsiteX46" fmla="*/ 1177026 w 1825371"/>
              <a:gd name="connsiteY46" fmla="*/ 1087375 h 4705763"/>
              <a:gd name="connsiteX47" fmla="*/ 1179787 w 1825371"/>
              <a:gd name="connsiteY47" fmla="*/ 1073913 h 4705763"/>
              <a:gd name="connsiteX48" fmla="*/ 1135255 w 1825371"/>
              <a:gd name="connsiteY48" fmla="*/ 1041117 h 4705763"/>
              <a:gd name="connsiteX49" fmla="*/ 939868 w 1825371"/>
              <a:gd name="connsiteY49" fmla="*/ 883702 h 4705763"/>
              <a:gd name="connsiteX50" fmla="*/ 549783 w 1825371"/>
              <a:gd name="connsiteY50" fmla="*/ 496379 h 4705763"/>
              <a:gd name="connsiteX51" fmla="*/ 40947 w 1825371"/>
              <a:gd name="connsiteY51" fmla="*/ 48990 h 4705763"/>
              <a:gd name="connsiteX52" fmla="*/ 5735 w 1825371"/>
              <a:gd name="connsiteY52" fmla="*/ 17231 h 4705763"/>
              <a:gd name="connsiteX53" fmla="*/ 902 w 1825371"/>
              <a:gd name="connsiteY53" fmla="*/ 4114 h 4705763"/>
              <a:gd name="connsiteX54" fmla="*/ 15747 w 1825371"/>
              <a:gd name="connsiteY54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077951 w 1825371"/>
              <a:gd name="connsiteY35" fmla="*/ 2236916 h 4705763"/>
              <a:gd name="connsiteX36" fmla="*/ 1125245 w 1825371"/>
              <a:gd name="connsiteY36" fmla="*/ 1293464 h 4705763"/>
              <a:gd name="connsiteX37" fmla="*/ 1096247 w 1825371"/>
              <a:gd name="connsiteY37" fmla="*/ 1270681 h 4705763"/>
              <a:gd name="connsiteX38" fmla="*/ 984400 w 1825371"/>
              <a:gd name="connsiteY38" fmla="*/ 1242374 h 4705763"/>
              <a:gd name="connsiteX39" fmla="*/ 977149 w 1825371"/>
              <a:gd name="connsiteY39" fmla="*/ 1225458 h 4705763"/>
              <a:gd name="connsiteX40" fmla="*/ 983019 w 1825371"/>
              <a:gd name="connsiteY40" fmla="*/ 1189902 h 4705763"/>
              <a:gd name="connsiteX41" fmla="*/ 1016158 w 1825371"/>
              <a:gd name="connsiteY41" fmla="*/ 1097041 h 4705763"/>
              <a:gd name="connsiteX42" fmla="*/ 1055513 w 1825371"/>
              <a:gd name="connsiteY42" fmla="*/ 1078055 h 4705763"/>
              <a:gd name="connsiteX43" fmla="*/ 1097628 w 1825371"/>
              <a:gd name="connsiteY43" fmla="*/ 1104290 h 4705763"/>
              <a:gd name="connsiteX44" fmla="*/ 1115579 w 1825371"/>
              <a:gd name="connsiteY44" fmla="*/ 1107743 h 4705763"/>
              <a:gd name="connsiteX45" fmla="*/ 1177026 w 1825371"/>
              <a:gd name="connsiteY45" fmla="*/ 1087375 h 4705763"/>
              <a:gd name="connsiteX46" fmla="*/ 1179787 w 1825371"/>
              <a:gd name="connsiteY46" fmla="*/ 1073913 h 4705763"/>
              <a:gd name="connsiteX47" fmla="*/ 1135255 w 1825371"/>
              <a:gd name="connsiteY47" fmla="*/ 1041117 h 4705763"/>
              <a:gd name="connsiteX48" fmla="*/ 939868 w 1825371"/>
              <a:gd name="connsiteY48" fmla="*/ 883702 h 4705763"/>
              <a:gd name="connsiteX49" fmla="*/ 549783 w 1825371"/>
              <a:gd name="connsiteY49" fmla="*/ 496379 h 4705763"/>
              <a:gd name="connsiteX50" fmla="*/ 40947 w 1825371"/>
              <a:gd name="connsiteY50" fmla="*/ 48990 h 4705763"/>
              <a:gd name="connsiteX51" fmla="*/ 5735 w 1825371"/>
              <a:gd name="connsiteY51" fmla="*/ 17231 h 4705763"/>
              <a:gd name="connsiteX52" fmla="*/ 902 w 1825371"/>
              <a:gd name="connsiteY52" fmla="*/ 4114 h 4705763"/>
              <a:gd name="connsiteX53" fmla="*/ 15747 w 1825371"/>
              <a:gd name="connsiteY53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066213 w 1825371"/>
              <a:gd name="connsiteY34" fmla="*/ 2573839 h 4705763"/>
              <a:gd name="connsiteX35" fmla="*/ 1125245 w 1825371"/>
              <a:gd name="connsiteY35" fmla="*/ 1293464 h 4705763"/>
              <a:gd name="connsiteX36" fmla="*/ 1096247 w 1825371"/>
              <a:gd name="connsiteY36" fmla="*/ 1270681 h 4705763"/>
              <a:gd name="connsiteX37" fmla="*/ 984400 w 1825371"/>
              <a:gd name="connsiteY37" fmla="*/ 1242374 h 4705763"/>
              <a:gd name="connsiteX38" fmla="*/ 977149 w 1825371"/>
              <a:gd name="connsiteY38" fmla="*/ 1225458 h 4705763"/>
              <a:gd name="connsiteX39" fmla="*/ 983019 w 1825371"/>
              <a:gd name="connsiteY39" fmla="*/ 1189902 h 4705763"/>
              <a:gd name="connsiteX40" fmla="*/ 1016158 w 1825371"/>
              <a:gd name="connsiteY40" fmla="*/ 1097041 h 4705763"/>
              <a:gd name="connsiteX41" fmla="*/ 1055513 w 1825371"/>
              <a:gd name="connsiteY41" fmla="*/ 1078055 h 4705763"/>
              <a:gd name="connsiteX42" fmla="*/ 1097628 w 1825371"/>
              <a:gd name="connsiteY42" fmla="*/ 1104290 h 4705763"/>
              <a:gd name="connsiteX43" fmla="*/ 1115579 w 1825371"/>
              <a:gd name="connsiteY43" fmla="*/ 1107743 h 4705763"/>
              <a:gd name="connsiteX44" fmla="*/ 1177026 w 1825371"/>
              <a:gd name="connsiteY44" fmla="*/ 1087375 h 4705763"/>
              <a:gd name="connsiteX45" fmla="*/ 1179787 w 1825371"/>
              <a:gd name="connsiteY45" fmla="*/ 1073913 h 4705763"/>
              <a:gd name="connsiteX46" fmla="*/ 1135255 w 1825371"/>
              <a:gd name="connsiteY46" fmla="*/ 1041117 h 4705763"/>
              <a:gd name="connsiteX47" fmla="*/ 939868 w 1825371"/>
              <a:gd name="connsiteY47" fmla="*/ 883702 h 4705763"/>
              <a:gd name="connsiteX48" fmla="*/ 549783 w 1825371"/>
              <a:gd name="connsiteY48" fmla="*/ 496379 h 4705763"/>
              <a:gd name="connsiteX49" fmla="*/ 40947 w 1825371"/>
              <a:gd name="connsiteY49" fmla="*/ 48990 h 4705763"/>
              <a:gd name="connsiteX50" fmla="*/ 5735 w 1825371"/>
              <a:gd name="connsiteY50" fmla="*/ 17231 h 4705763"/>
              <a:gd name="connsiteX51" fmla="*/ 902 w 1825371"/>
              <a:gd name="connsiteY51" fmla="*/ 4114 h 4705763"/>
              <a:gd name="connsiteX52" fmla="*/ 15747 w 1825371"/>
              <a:gd name="connsiteY52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053441 w 1825371"/>
              <a:gd name="connsiteY33" fmla="*/ 2920082 h 4705763"/>
              <a:gd name="connsiteX34" fmla="*/ 1125245 w 1825371"/>
              <a:gd name="connsiteY34" fmla="*/ 1293464 h 4705763"/>
              <a:gd name="connsiteX35" fmla="*/ 1096247 w 1825371"/>
              <a:gd name="connsiteY35" fmla="*/ 1270681 h 4705763"/>
              <a:gd name="connsiteX36" fmla="*/ 984400 w 1825371"/>
              <a:gd name="connsiteY36" fmla="*/ 1242374 h 4705763"/>
              <a:gd name="connsiteX37" fmla="*/ 977149 w 1825371"/>
              <a:gd name="connsiteY37" fmla="*/ 1225458 h 4705763"/>
              <a:gd name="connsiteX38" fmla="*/ 983019 w 1825371"/>
              <a:gd name="connsiteY38" fmla="*/ 1189902 h 4705763"/>
              <a:gd name="connsiteX39" fmla="*/ 1016158 w 1825371"/>
              <a:gd name="connsiteY39" fmla="*/ 1097041 h 4705763"/>
              <a:gd name="connsiteX40" fmla="*/ 1055513 w 1825371"/>
              <a:gd name="connsiteY40" fmla="*/ 1078055 h 4705763"/>
              <a:gd name="connsiteX41" fmla="*/ 1097628 w 1825371"/>
              <a:gd name="connsiteY41" fmla="*/ 1104290 h 4705763"/>
              <a:gd name="connsiteX42" fmla="*/ 1115579 w 1825371"/>
              <a:gd name="connsiteY42" fmla="*/ 1107743 h 4705763"/>
              <a:gd name="connsiteX43" fmla="*/ 1177026 w 1825371"/>
              <a:gd name="connsiteY43" fmla="*/ 1087375 h 4705763"/>
              <a:gd name="connsiteX44" fmla="*/ 1179787 w 1825371"/>
              <a:gd name="connsiteY44" fmla="*/ 1073913 h 4705763"/>
              <a:gd name="connsiteX45" fmla="*/ 1135255 w 1825371"/>
              <a:gd name="connsiteY45" fmla="*/ 1041117 h 4705763"/>
              <a:gd name="connsiteX46" fmla="*/ 939868 w 1825371"/>
              <a:gd name="connsiteY46" fmla="*/ 883702 h 4705763"/>
              <a:gd name="connsiteX47" fmla="*/ 549783 w 1825371"/>
              <a:gd name="connsiteY47" fmla="*/ 496379 h 4705763"/>
              <a:gd name="connsiteX48" fmla="*/ 40947 w 1825371"/>
              <a:gd name="connsiteY48" fmla="*/ 48990 h 4705763"/>
              <a:gd name="connsiteX49" fmla="*/ 5735 w 1825371"/>
              <a:gd name="connsiteY49" fmla="*/ 17231 h 4705763"/>
              <a:gd name="connsiteX50" fmla="*/ 902 w 1825371"/>
              <a:gd name="connsiteY50" fmla="*/ 4114 h 4705763"/>
              <a:gd name="connsiteX51" fmla="*/ 15747 w 1825371"/>
              <a:gd name="connsiteY51" fmla="*/ 1352 h 4705763"/>
              <a:gd name="connsiteX0" fmla="*/ 15747 w 1825371"/>
              <a:gd name="connsiteY0" fmla="*/ 1352 h 4705763"/>
              <a:gd name="connsiteX1" fmla="*/ 83062 w 1825371"/>
              <a:gd name="connsiteY1" fmla="*/ 34837 h 4705763"/>
              <a:gd name="connsiteX2" fmla="*/ 961270 w 1825371"/>
              <a:gd name="connsiteY2" fmla="*/ 755975 h 4705763"/>
              <a:gd name="connsiteX3" fmla="*/ 1239162 w 1825371"/>
              <a:gd name="connsiteY3" fmla="*/ 1001764 h 4705763"/>
              <a:gd name="connsiteX4" fmla="*/ 1276445 w 1825371"/>
              <a:gd name="connsiteY4" fmla="*/ 1025928 h 4705763"/>
              <a:gd name="connsiteX5" fmla="*/ 1316489 w 1825371"/>
              <a:gd name="connsiteY5" fmla="*/ 1009704 h 4705763"/>
              <a:gd name="connsiteX6" fmla="*/ 1345141 w 1825371"/>
              <a:gd name="connsiteY6" fmla="*/ 948602 h 4705763"/>
              <a:gd name="connsiteX7" fmla="*/ 1407624 w 1825371"/>
              <a:gd name="connsiteY7" fmla="*/ 869894 h 4705763"/>
              <a:gd name="connsiteX8" fmla="*/ 1749379 w 1825371"/>
              <a:gd name="connsiteY8" fmla="*/ 590967 h 4705763"/>
              <a:gd name="connsiteX9" fmla="*/ 1808066 w 1825371"/>
              <a:gd name="connsiteY9" fmla="*/ 545399 h 4705763"/>
              <a:gd name="connsiteX10" fmla="*/ 1825326 w 1825371"/>
              <a:gd name="connsiteY10" fmla="*/ 554375 h 4705763"/>
              <a:gd name="connsiteX11" fmla="*/ 1811172 w 1825371"/>
              <a:gd name="connsiteY11" fmla="*/ 590277 h 4705763"/>
              <a:gd name="connsiteX12" fmla="*/ 1721073 w 1825371"/>
              <a:gd name="connsiteY12" fmla="*/ 698326 h 4705763"/>
              <a:gd name="connsiteX13" fmla="*/ 1385877 w 1825371"/>
              <a:gd name="connsiteY13" fmla="*/ 1068389 h 4705763"/>
              <a:gd name="connsiteX14" fmla="*/ 1376211 w 1825371"/>
              <a:gd name="connsiteY14" fmla="*/ 1098421 h 4705763"/>
              <a:gd name="connsiteX15" fmla="*/ 1361366 w 1825371"/>
              <a:gd name="connsiteY15" fmla="*/ 1135359 h 4705763"/>
              <a:gd name="connsiteX16" fmla="*/ 1355153 w 1825371"/>
              <a:gd name="connsiteY16" fmla="*/ 1169879 h 4705763"/>
              <a:gd name="connsiteX17" fmla="*/ 1409696 w 1825371"/>
              <a:gd name="connsiteY17" fmla="*/ 1384253 h 4705763"/>
              <a:gd name="connsiteX18" fmla="*/ 1524994 w 1825371"/>
              <a:gd name="connsiteY18" fmla="*/ 1739817 h 4705763"/>
              <a:gd name="connsiteX19" fmla="*/ 1659971 w 1825371"/>
              <a:gd name="connsiteY19" fmla="*/ 2199288 h 4705763"/>
              <a:gd name="connsiteX20" fmla="*/ 1782864 w 1825371"/>
              <a:gd name="connsiteY20" fmla="*/ 2697077 h 4705763"/>
              <a:gd name="connsiteX21" fmla="*/ 1794257 w 1825371"/>
              <a:gd name="connsiteY21" fmla="*/ 2767845 h 4705763"/>
              <a:gd name="connsiteX22" fmla="*/ 1791840 w 1825371"/>
              <a:gd name="connsiteY22" fmla="*/ 2778202 h 4705763"/>
              <a:gd name="connsiteX23" fmla="*/ 1784245 w 1825371"/>
              <a:gd name="connsiteY23" fmla="*/ 2770607 h 4705763"/>
              <a:gd name="connsiteX24" fmla="*/ 1746617 w 1825371"/>
              <a:gd name="connsiteY24" fmla="*/ 2660831 h 4705763"/>
              <a:gd name="connsiteX25" fmla="*/ 1513602 w 1825371"/>
              <a:gd name="connsiteY25" fmla="*/ 1875484 h 4705763"/>
              <a:gd name="connsiteX26" fmla="*/ 1297158 w 1825371"/>
              <a:gd name="connsiteY26" fmla="*/ 1267919 h 4705763"/>
              <a:gd name="connsiteX27" fmla="*/ 1275064 w 1825371"/>
              <a:gd name="connsiteY27" fmla="*/ 1217173 h 4705763"/>
              <a:gd name="connsiteX28" fmla="*/ 1248483 w 1825371"/>
              <a:gd name="connsiteY28" fmla="*/ 1193353 h 4705763"/>
              <a:gd name="connsiteX29" fmla="*/ 1232949 w 1825371"/>
              <a:gd name="connsiteY29" fmla="*/ 1222351 h 4705763"/>
              <a:gd name="connsiteX30" fmla="*/ 1230877 w 1825371"/>
              <a:gd name="connsiteY30" fmla="*/ 1283108 h 4705763"/>
              <a:gd name="connsiteX31" fmla="*/ 1297493 w 1825371"/>
              <a:gd name="connsiteY31" fmla="*/ 4685667 h 4705763"/>
              <a:gd name="connsiteX32" fmla="*/ 938419 w 1825371"/>
              <a:gd name="connsiteY32" fmla="*/ 4705763 h 4705763"/>
              <a:gd name="connsiteX33" fmla="*/ 1125245 w 1825371"/>
              <a:gd name="connsiteY33" fmla="*/ 1293464 h 4705763"/>
              <a:gd name="connsiteX34" fmla="*/ 1096247 w 1825371"/>
              <a:gd name="connsiteY34" fmla="*/ 1270681 h 4705763"/>
              <a:gd name="connsiteX35" fmla="*/ 984400 w 1825371"/>
              <a:gd name="connsiteY35" fmla="*/ 1242374 h 4705763"/>
              <a:gd name="connsiteX36" fmla="*/ 977149 w 1825371"/>
              <a:gd name="connsiteY36" fmla="*/ 1225458 h 4705763"/>
              <a:gd name="connsiteX37" fmla="*/ 983019 w 1825371"/>
              <a:gd name="connsiteY37" fmla="*/ 1189902 h 4705763"/>
              <a:gd name="connsiteX38" fmla="*/ 1016158 w 1825371"/>
              <a:gd name="connsiteY38" fmla="*/ 1097041 h 4705763"/>
              <a:gd name="connsiteX39" fmla="*/ 1055513 w 1825371"/>
              <a:gd name="connsiteY39" fmla="*/ 1078055 h 4705763"/>
              <a:gd name="connsiteX40" fmla="*/ 1097628 w 1825371"/>
              <a:gd name="connsiteY40" fmla="*/ 1104290 h 4705763"/>
              <a:gd name="connsiteX41" fmla="*/ 1115579 w 1825371"/>
              <a:gd name="connsiteY41" fmla="*/ 1107743 h 4705763"/>
              <a:gd name="connsiteX42" fmla="*/ 1177026 w 1825371"/>
              <a:gd name="connsiteY42" fmla="*/ 1087375 h 4705763"/>
              <a:gd name="connsiteX43" fmla="*/ 1179787 w 1825371"/>
              <a:gd name="connsiteY43" fmla="*/ 1073913 h 4705763"/>
              <a:gd name="connsiteX44" fmla="*/ 1135255 w 1825371"/>
              <a:gd name="connsiteY44" fmla="*/ 1041117 h 4705763"/>
              <a:gd name="connsiteX45" fmla="*/ 939868 w 1825371"/>
              <a:gd name="connsiteY45" fmla="*/ 883702 h 4705763"/>
              <a:gd name="connsiteX46" fmla="*/ 549783 w 1825371"/>
              <a:gd name="connsiteY46" fmla="*/ 496379 h 4705763"/>
              <a:gd name="connsiteX47" fmla="*/ 40947 w 1825371"/>
              <a:gd name="connsiteY47" fmla="*/ 48990 h 4705763"/>
              <a:gd name="connsiteX48" fmla="*/ 5735 w 1825371"/>
              <a:gd name="connsiteY48" fmla="*/ 17231 h 4705763"/>
              <a:gd name="connsiteX49" fmla="*/ 902 w 1825371"/>
              <a:gd name="connsiteY49" fmla="*/ 4114 h 4705763"/>
              <a:gd name="connsiteX50" fmla="*/ 15747 w 1825371"/>
              <a:gd name="connsiteY50" fmla="*/ 1352 h 4705763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97493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685667"/>
              <a:gd name="connsiteX1" fmla="*/ 83062 w 1825371"/>
              <a:gd name="connsiteY1" fmla="*/ 34837 h 4685667"/>
              <a:gd name="connsiteX2" fmla="*/ 961270 w 1825371"/>
              <a:gd name="connsiteY2" fmla="*/ 755975 h 4685667"/>
              <a:gd name="connsiteX3" fmla="*/ 1239162 w 1825371"/>
              <a:gd name="connsiteY3" fmla="*/ 1001764 h 4685667"/>
              <a:gd name="connsiteX4" fmla="*/ 1276445 w 1825371"/>
              <a:gd name="connsiteY4" fmla="*/ 1025928 h 4685667"/>
              <a:gd name="connsiteX5" fmla="*/ 1316489 w 1825371"/>
              <a:gd name="connsiteY5" fmla="*/ 1009704 h 4685667"/>
              <a:gd name="connsiteX6" fmla="*/ 1345141 w 1825371"/>
              <a:gd name="connsiteY6" fmla="*/ 948602 h 4685667"/>
              <a:gd name="connsiteX7" fmla="*/ 1407624 w 1825371"/>
              <a:gd name="connsiteY7" fmla="*/ 869894 h 4685667"/>
              <a:gd name="connsiteX8" fmla="*/ 1749379 w 1825371"/>
              <a:gd name="connsiteY8" fmla="*/ 590967 h 4685667"/>
              <a:gd name="connsiteX9" fmla="*/ 1808066 w 1825371"/>
              <a:gd name="connsiteY9" fmla="*/ 545399 h 4685667"/>
              <a:gd name="connsiteX10" fmla="*/ 1825326 w 1825371"/>
              <a:gd name="connsiteY10" fmla="*/ 554375 h 4685667"/>
              <a:gd name="connsiteX11" fmla="*/ 1811172 w 1825371"/>
              <a:gd name="connsiteY11" fmla="*/ 590277 h 4685667"/>
              <a:gd name="connsiteX12" fmla="*/ 1721073 w 1825371"/>
              <a:gd name="connsiteY12" fmla="*/ 698326 h 4685667"/>
              <a:gd name="connsiteX13" fmla="*/ 1385877 w 1825371"/>
              <a:gd name="connsiteY13" fmla="*/ 1068389 h 4685667"/>
              <a:gd name="connsiteX14" fmla="*/ 1376211 w 1825371"/>
              <a:gd name="connsiteY14" fmla="*/ 1098421 h 4685667"/>
              <a:gd name="connsiteX15" fmla="*/ 1361366 w 1825371"/>
              <a:gd name="connsiteY15" fmla="*/ 1135359 h 4685667"/>
              <a:gd name="connsiteX16" fmla="*/ 1355153 w 1825371"/>
              <a:gd name="connsiteY16" fmla="*/ 1169879 h 4685667"/>
              <a:gd name="connsiteX17" fmla="*/ 1409696 w 1825371"/>
              <a:gd name="connsiteY17" fmla="*/ 1384253 h 4685667"/>
              <a:gd name="connsiteX18" fmla="*/ 1524994 w 1825371"/>
              <a:gd name="connsiteY18" fmla="*/ 1739817 h 4685667"/>
              <a:gd name="connsiteX19" fmla="*/ 1659971 w 1825371"/>
              <a:gd name="connsiteY19" fmla="*/ 2199288 h 4685667"/>
              <a:gd name="connsiteX20" fmla="*/ 1782864 w 1825371"/>
              <a:gd name="connsiteY20" fmla="*/ 2697077 h 4685667"/>
              <a:gd name="connsiteX21" fmla="*/ 1794257 w 1825371"/>
              <a:gd name="connsiteY21" fmla="*/ 2767845 h 4685667"/>
              <a:gd name="connsiteX22" fmla="*/ 1791840 w 1825371"/>
              <a:gd name="connsiteY22" fmla="*/ 2778202 h 4685667"/>
              <a:gd name="connsiteX23" fmla="*/ 1784245 w 1825371"/>
              <a:gd name="connsiteY23" fmla="*/ 2770607 h 4685667"/>
              <a:gd name="connsiteX24" fmla="*/ 1746617 w 1825371"/>
              <a:gd name="connsiteY24" fmla="*/ 2660831 h 4685667"/>
              <a:gd name="connsiteX25" fmla="*/ 1513602 w 1825371"/>
              <a:gd name="connsiteY25" fmla="*/ 1875484 h 4685667"/>
              <a:gd name="connsiteX26" fmla="*/ 1297158 w 1825371"/>
              <a:gd name="connsiteY26" fmla="*/ 1267919 h 4685667"/>
              <a:gd name="connsiteX27" fmla="*/ 1275064 w 1825371"/>
              <a:gd name="connsiteY27" fmla="*/ 1217173 h 4685667"/>
              <a:gd name="connsiteX28" fmla="*/ 1248483 w 1825371"/>
              <a:gd name="connsiteY28" fmla="*/ 1193353 h 4685667"/>
              <a:gd name="connsiteX29" fmla="*/ 1232949 w 1825371"/>
              <a:gd name="connsiteY29" fmla="*/ 1222351 h 4685667"/>
              <a:gd name="connsiteX30" fmla="*/ 1230877 w 1825371"/>
              <a:gd name="connsiteY30" fmla="*/ 1283108 h 4685667"/>
              <a:gd name="connsiteX31" fmla="*/ 1217106 w 1825371"/>
              <a:gd name="connsiteY31" fmla="*/ 4685667 h 4685667"/>
              <a:gd name="connsiteX32" fmla="*/ 978613 w 1825371"/>
              <a:gd name="connsiteY32" fmla="*/ 4685667 h 4685667"/>
              <a:gd name="connsiteX33" fmla="*/ 1125245 w 1825371"/>
              <a:gd name="connsiteY33" fmla="*/ 1293464 h 4685667"/>
              <a:gd name="connsiteX34" fmla="*/ 1096247 w 1825371"/>
              <a:gd name="connsiteY34" fmla="*/ 1270681 h 4685667"/>
              <a:gd name="connsiteX35" fmla="*/ 984400 w 1825371"/>
              <a:gd name="connsiteY35" fmla="*/ 1242374 h 4685667"/>
              <a:gd name="connsiteX36" fmla="*/ 977149 w 1825371"/>
              <a:gd name="connsiteY36" fmla="*/ 1225458 h 4685667"/>
              <a:gd name="connsiteX37" fmla="*/ 983019 w 1825371"/>
              <a:gd name="connsiteY37" fmla="*/ 1189902 h 4685667"/>
              <a:gd name="connsiteX38" fmla="*/ 1016158 w 1825371"/>
              <a:gd name="connsiteY38" fmla="*/ 1097041 h 4685667"/>
              <a:gd name="connsiteX39" fmla="*/ 1055513 w 1825371"/>
              <a:gd name="connsiteY39" fmla="*/ 1078055 h 4685667"/>
              <a:gd name="connsiteX40" fmla="*/ 1097628 w 1825371"/>
              <a:gd name="connsiteY40" fmla="*/ 1104290 h 4685667"/>
              <a:gd name="connsiteX41" fmla="*/ 1115579 w 1825371"/>
              <a:gd name="connsiteY41" fmla="*/ 1107743 h 4685667"/>
              <a:gd name="connsiteX42" fmla="*/ 1177026 w 1825371"/>
              <a:gd name="connsiteY42" fmla="*/ 1087375 h 4685667"/>
              <a:gd name="connsiteX43" fmla="*/ 1179787 w 1825371"/>
              <a:gd name="connsiteY43" fmla="*/ 1073913 h 4685667"/>
              <a:gd name="connsiteX44" fmla="*/ 1135255 w 1825371"/>
              <a:gd name="connsiteY44" fmla="*/ 1041117 h 4685667"/>
              <a:gd name="connsiteX45" fmla="*/ 939868 w 1825371"/>
              <a:gd name="connsiteY45" fmla="*/ 883702 h 4685667"/>
              <a:gd name="connsiteX46" fmla="*/ 549783 w 1825371"/>
              <a:gd name="connsiteY46" fmla="*/ 496379 h 4685667"/>
              <a:gd name="connsiteX47" fmla="*/ 40947 w 1825371"/>
              <a:gd name="connsiteY47" fmla="*/ 48990 h 4685667"/>
              <a:gd name="connsiteX48" fmla="*/ 5735 w 1825371"/>
              <a:gd name="connsiteY48" fmla="*/ 17231 h 4685667"/>
              <a:gd name="connsiteX49" fmla="*/ 902 w 1825371"/>
              <a:gd name="connsiteY49" fmla="*/ 4114 h 4685667"/>
              <a:gd name="connsiteX50" fmla="*/ 15747 w 1825371"/>
              <a:gd name="connsiteY50" fmla="*/ 1352 h 4685667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78613 w 1825371"/>
              <a:gd name="connsiteY32" fmla="*/ 4685667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  <a:gd name="connsiteX0" fmla="*/ 15747 w 1825371"/>
              <a:gd name="connsiteY0" fmla="*/ 1352 h 4705764"/>
              <a:gd name="connsiteX1" fmla="*/ 83062 w 1825371"/>
              <a:gd name="connsiteY1" fmla="*/ 34837 h 4705764"/>
              <a:gd name="connsiteX2" fmla="*/ 961270 w 1825371"/>
              <a:gd name="connsiteY2" fmla="*/ 755975 h 4705764"/>
              <a:gd name="connsiteX3" fmla="*/ 1239162 w 1825371"/>
              <a:gd name="connsiteY3" fmla="*/ 1001764 h 4705764"/>
              <a:gd name="connsiteX4" fmla="*/ 1276445 w 1825371"/>
              <a:gd name="connsiteY4" fmla="*/ 1025928 h 4705764"/>
              <a:gd name="connsiteX5" fmla="*/ 1316489 w 1825371"/>
              <a:gd name="connsiteY5" fmla="*/ 1009704 h 4705764"/>
              <a:gd name="connsiteX6" fmla="*/ 1345141 w 1825371"/>
              <a:gd name="connsiteY6" fmla="*/ 948602 h 4705764"/>
              <a:gd name="connsiteX7" fmla="*/ 1407624 w 1825371"/>
              <a:gd name="connsiteY7" fmla="*/ 869894 h 4705764"/>
              <a:gd name="connsiteX8" fmla="*/ 1749379 w 1825371"/>
              <a:gd name="connsiteY8" fmla="*/ 590967 h 4705764"/>
              <a:gd name="connsiteX9" fmla="*/ 1808066 w 1825371"/>
              <a:gd name="connsiteY9" fmla="*/ 545399 h 4705764"/>
              <a:gd name="connsiteX10" fmla="*/ 1825326 w 1825371"/>
              <a:gd name="connsiteY10" fmla="*/ 554375 h 4705764"/>
              <a:gd name="connsiteX11" fmla="*/ 1811172 w 1825371"/>
              <a:gd name="connsiteY11" fmla="*/ 590277 h 4705764"/>
              <a:gd name="connsiteX12" fmla="*/ 1721073 w 1825371"/>
              <a:gd name="connsiteY12" fmla="*/ 698326 h 4705764"/>
              <a:gd name="connsiteX13" fmla="*/ 1385877 w 1825371"/>
              <a:gd name="connsiteY13" fmla="*/ 1068389 h 4705764"/>
              <a:gd name="connsiteX14" fmla="*/ 1376211 w 1825371"/>
              <a:gd name="connsiteY14" fmla="*/ 1098421 h 4705764"/>
              <a:gd name="connsiteX15" fmla="*/ 1361366 w 1825371"/>
              <a:gd name="connsiteY15" fmla="*/ 1135359 h 4705764"/>
              <a:gd name="connsiteX16" fmla="*/ 1355153 w 1825371"/>
              <a:gd name="connsiteY16" fmla="*/ 1169879 h 4705764"/>
              <a:gd name="connsiteX17" fmla="*/ 1409696 w 1825371"/>
              <a:gd name="connsiteY17" fmla="*/ 1384253 h 4705764"/>
              <a:gd name="connsiteX18" fmla="*/ 1524994 w 1825371"/>
              <a:gd name="connsiteY18" fmla="*/ 1739817 h 4705764"/>
              <a:gd name="connsiteX19" fmla="*/ 1659971 w 1825371"/>
              <a:gd name="connsiteY19" fmla="*/ 2199288 h 4705764"/>
              <a:gd name="connsiteX20" fmla="*/ 1782864 w 1825371"/>
              <a:gd name="connsiteY20" fmla="*/ 2697077 h 4705764"/>
              <a:gd name="connsiteX21" fmla="*/ 1794257 w 1825371"/>
              <a:gd name="connsiteY21" fmla="*/ 2767845 h 4705764"/>
              <a:gd name="connsiteX22" fmla="*/ 1791840 w 1825371"/>
              <a:gd name="connsiteY22" fmla="*/ 2778202 h 4705764"/>
              <a:gd name="connsiteX23" fmla="*/ 1784245 w 1825371"/>
              <a:gd name="connsiteY23" fmla="*/ 2770607 h 4705764"/>
              <a:gd name="connsiteX24" fmla="*/ 1746617 w 1825371"/>
              <a:gd name="connsiteY24" fmla="*/ 2660831 h 4705764"/>
              <a:gd name="connsiteX25" fmla="*/ 1513602 w 1825371"/>
              <a:gd name="connsiteY25" fmla="*/ 1875484 h 4705764"/>
              <a:gd name="connsiteX26" fmla="*/ 1297158 w 1825371"/>
              <a:gd name="connsiteY26" fmla="*/ 1267919 h 4705764"/>
              <a:gd name="connsiteX27" fmla="*/ 1275064 w 1825371"/>
              <a:gd name="connsiteY27" fmla="*/ 1217173 h 4705764"/>
              <a:gd name="connsiteX28" fmla="*/ 1248483 w 1825371"/>
              <a:gd name="connsiteY28" fmla="*/ 1193353 h 4705764"/>
              <a:gd name="connsiteX29" fmla="*/ 1232949 w 1825371"/>
              <a:gd name="connsiteY29" fmla="*/ 1222351 h 4705764"/>
              <a:gd name="connsiteX30" fmla="*/ 1230877 w 1825371"/>
              <a:gd name="connsiteY30" fmla="*/ 1283108 h 4705764"/>
              <a:gd name="connsiteX31" fmla="*/ 1227154 w 1825371"/>
              <a:gd name="connsiteY31" fmla="*/ 4705764 h 4705764"/>
              <a:gd name="connsiteX32" fmla="*/ 998710 w 1825371"/>
              <a:gd name="connsiteY32" fmla="*/ 4695715 h 4705764"/>
              <a:gd name="connsiteX33" fmla="*/ 1125245 w 1825371"/>
              <a:gd name="connsiteY33" fmla="*/ 1293464 h 4705764"/>
              <a:gd name="connsiteX34" fmla="*/ 1096247 w 1825371"/>
              <a:gd name="connsiteY34" fmla="*/ 1270681 h 4705764"/>
              <a:gd name="connsiteX35" fmla="*/ 984400 w 1825371"/>
              <a:gd name="connsiteY35" fmla="*/ 1242374 h 4705764"/>
              <a:gd name="connsiteX36" fmla="*/ 977149 w 1825371"/>
              <a:gd name="connsiteY36" fmla="*/ 1225458 h 4705764"/>
              <a:gd name="connsiteX37" fmla="*/ 983019 w 1825371"/>
              <a:gd name="connsiteY37" fmla="*/ 1189902 h 4705764"/>
              <a:gd name="connsiteX38" fmla="*/ 1016158 w 1825371"/>
              <a:gd name="connsiteY38" fmla="*/ 1097041 h 4705764"/>
              <a:gd name="connsiteX39" fmla="*/ 1055513 w 1825371"/>
              <a:gd name="connsiteY39" fmla="*/ 1078055 h 4705764"/>
              <a:gd name="connsiteX40" fmla="*/ 1097628 w 1825371"/>
              <a:gd name="connsiteY40" fmla="*/ 1104290 h 4705764"/>
              <a:gd name="connsiteX41" fmla="*/ 1115579 w 1825371"/>
              <a:gd name="connsiteY41" fmla="*/ 1107743 h 4705764"/>
              <a:gd name="connsiteX42" fmla="*/ 1177026 w 1825371"/>
              <a:gd name="connsiteY42" fmla="*/ 1087375 h 4705764"/>
              <a:gd name="connsiteX43" fmla="*/ 1179787 w 1825371"/>
              <a:gd name="connsiteY43" fmla="*/ 1073913 h 4705764"/>
              <a:gd name="connsiteX44" fmla="*/ 1135255 w 1825371"/>
              <a:gd name="connsiteY44" fmla="*/ 1041117 h 4705764"/>
              <a:gd name="connsiteX45" fmla="*/ 939868 w 1825371"/>
              <a:gd name="connsiteY45" fmla="*/ 883702 h 4705764"/>
              <a:gd name="connsiteX46" fmla="*/ 549783 w 1825371"/>
              <a:gd name="connsiteY46" fmla="*/ 496379 h 4705764"/>
              <a:gd name="connsiteX47" fmla="*/ 40947 w 1825371"/>
              <a:gd name="connsiteY47" fmla="*/ 48990 h 4705764"/>
              <a:gd name="connsiteX48" fmla="*/ 5735 w 1825371"/>
              <a:gd name="connsiteY48" fmla="*/ 17231 h 4705764"/>
              <a:gd name="connsiteX49" fmla="*/ 902 w 1825371"/>
              <a:gd name="connsiteY49" fmla="*/ 4114 h 4705764"/>
              <a:gd name="connsiteX50" fmla="*/ 15747 w 1825371"/>
              <a:gd name="connsiteY50" fmla="*/ 1352 h 4705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825371" h="4705764">
                <a:moveTo>
                  <a:pt x="15747" y="1352"/>
                </a:moveTo>
                <a:cubicBezTo>
                  <a:pt x="40601" y="7565"/>
                  <a:pt x="63040" y="19648"/>
                  <a:pt x="83062" y="34837"/>
                </a:cubicBezTo>
                <a:cubicBezTo>
                  <a:pt x="383392" y="265435"/>
                  <a:pt x="679236" y="502594"/>
                  <a:pt x="961270" y="755975"/>
                </a:cubicBezTo>
                <a:cubicBezTo>
                  <a:pt x="1053096" y="838826"/>
                  <a:pt x="1146302" y="919949"/>
                  <a:pt x="1239162" y="1001764"/>
                </a:cubicBezTo>
                <a:cubicBezTo>
                  <a:pt x="1250209" y="1011775"/>
                  <a:pt x="1262636" y="1020060"/>
                  <a:pt x="1276445" y="1025928"/>
                </a:cubicBezTo>
                <a:cubicBezTo>
                  <a:pt x="1296466" y="1034213"/>
                  <a:pt x="1308204" y="1030070"/>
                  <a:pt x="1316489" y="1009704"/>
                </a:cubicBezTo>
                <a:cubicBezTo>
                  <a:pt x="1325119" y="988991"/>
                  <a:pt x="1335821" y="968968"/>
                  <a:pt x="1345141" y="948602"/>
                </a:cubicBezTo>
                <a:cubicBezTo>
                  <a:pt x="1359640" y="917188"/>
                  <a:pt x="1382079" y="892679"/>
                  <a:pt x="1407624" y="869894"/>
                </a:cubicBezTo>
                <a:cubicBezTo>
                  <a:pt x="1517055" y="771511"/>
                  <a:pt x="1634081" y="682447"/>
                  <a:pt x="1749379" y="590967"/>
                </a:cubicBezTo>
                <a:cubicBezTo>
                  <a:pt x="1768711" y="575432"/>
                  <a:pt x="1788043" y="559898"/>
                  <a:pt x="1808066" y="545399"/>
                </a:cubicBezTo>
                <a:cubicBezTo>
                  <a:pt x="1819802" y="536769"/>
                  <a:pt x="1824634" y="539875"/>
                  <a:pt x="1825326" y="554375"/>
                </a:cubicBezTo>
                <a:cubicBezTo>
                  <a:pt x="1826015" y="568528"/>
                  <a:pt x="1818766" y="579575"/>
                  <a:pt x="1811172" y="590277"/>
                </a:cubicBezTo>
                <a:cubicBezTo>
                  <a:pt x="1783900" y="628594"/>
                  <a:pt x="1751451" y="662770"/>
                  <a:pt x="1721073" y="698326"/>
                </a:cubicBezTo>
                <a:cubicBezTo>
                  <a:pt x="1613023" y="825017"/>
                  <a:pt x="1503592" y="950328"/>
                  <a:pt x="1385877" y="1068389"/>
                </a:cubicBezTo>
                <a:cubicBezTo>
                  <a:pt x="1376900" y="1077364"/>
                  <a:pt x="1378626" y="1088411"/>
                  <a:pt x="1376211" y="1098421"/>
                </a:cubicBezTo>
                <a:cubicBezTo>
                  <a:pt x="1373449" y="1111885"/>
                  <a:pt x="1370342" y="1124658"/>
                  <a:pt x="1361366" y="1135359"/>
                </a:cubicBezTo>
                <a:cubicBezTo>
                  <a:pt x="1352736" y="1145370"/>
                  <a:pt x="1352736" y="1157798"/>
                  <a:pt x="1355153" y="1169879"/>
                </a:cubicBezTo>
                <a:cubicBezTo>
                  <a:pt x="1369651" y="1242374"/>
                  <a:pt x="1391054" y="1312796"/>
                  <a:pt x="1409696" y="1384253"/>
                </a:cubicBezTo>
                <a:cubicBezTo>
                  <a:pt x="1440764" y="1505076"/>
                  <a:pt x="1484260" y="1622102"/>
                  <a:pt x="1524994" y="1739817"/>
                </a:cubicBezTo>
                <a:cubicBezTo>
                  <a:pt x="1577466" y="1890674"/>
                  <a:pt x="1615785" y="2046016"/>
                  <a:pt x="1659971" y="2199288"/>
                </a:cubicBezTo>
                <a:cubicBezTo>
                  <a:pt x="1707264" y="2363607"/>
                  <a:pt x="1746273" y="2529998"/>
                  <a:pt x="1782864" y="2697077"/>
                </a:cubicBezTo>
                <a:cubicBezTo>
                  <a:pt x="1788043" y="2720207"/>
                  <a:pt x="1790460" y="2744026"/>
                  <a:pt x="1794257" y="2767845"/>
                </a:cubicBezTo>
                <a:cubicBezTo>
                  <a:pt x="1794947" y="2771643"/>
                  <a:pt x="1797364" y="2776822"/>
                  <a:pt x="1791840" y="2778202"/>
                </a:cubicBezTo>
                <a:cubicBezTo>
                  <a:pt x="1786662" y="2779583"/>
                  <a:pt x="1785626" y="2774405"/>
                  <a:pt x="1784245" y="2770607"/>
                </a:cubicBezTo>
                <a:cubicBezTo>
                  <a:pt x="1770437" y="2734360"/>
                  <a:pt x="1756975" y="2698113"/>
                  <a:pt x="1746617" y="2660831"/>
                </a:cubicBezTo>
                <a:cubicBezTo>
                  <a:pt x="1673779" y="2397784"/>
                  <a:pt x="1595762" y="2136116"/>
                  <a:pt x="1513602" y="1875484"/>
                </a:cubicBezTo>
                <a:cubicBezTo>
                  <a:pt x="1448704" y="1670431"/>
                  <a:pt x="1380007" y="1466759"/>
                  <a:pt x="1297158" y="1267919"/>
                </a:cubicBezTo>
                <a:cubicBezTo>
                  <a:pt x="1289909" y="1251004"/>
                  <a:pt x="1282659" y="1234089"/>
                  <a:pt x="1275064" y="1217173"/>
                </a:cubicBezTo>
                <a:cubicBezTo>
                  <a:pt x="1269541" y="1205436"/>
                  <a:pt x="1260911" y="1191628"/>
                  <a:pt x="1248483" y="1193353"/>
                </a:cubicBezTo>
                <a:cubicBezTo>
                  <a:pt x="1238128" y="1194734"/>
                  <a:pt x="1235711" y="1211649"/>
                  <a:pt x="1232949" y="1222351"/>
                </a:cubicBezTo>
                <a:cubicBezTo>
                  <a:pt x="1228115" y="1242374"/>
                  <a:pt x="1229843" y="1262740"/>
                  <a:pt x="1230877" y="1283108"/>
                </a:cubicBezTo>
                <a:cubicBezTo>
                  <a:pt x="1226287" y="2417294"/>
                  <a:pt x="1231744" y="3571578"/>
                  <a:pt x="1227154" y="4705764"/>
                </a:cubicBezTo>
                <a:lnTo>
                  <a:pt x="998710" y="4695715"/>
                </a:lnTo>
                <a:cubicBezTo>
                  <a:pt x="1020244" y="4110251"/>
                  <a:pt x="1098940" y="1865978"/>
                  <a:pt x="1125245" y="1293464"/>
                </a:cubicBezTo>
                <a:cubicBezTo>
                  <a:pt x="1126970" y="1262740"/>
                  <a:pt x="1124553" y="1258943"/>
                  <a:pt x="1096247" y="1270681"/>
                </a:cubicBezTo>
                <a:cubicBezTo>
                  <a:pt x="1050679" y="1289666"/>
                  <a:pt x="1018575" y="1263776"/>
                  <a:pt x="984400" y="1242374"/>
                </a:cubicBezTo>
                <a:cubicBezTo>
                  <a:pt x="979221" y="1238921"/>
                  <a:pt x="977841" y="1232017"/>
                  <a:pt x="977149" y="1225458"/>
                </a:cubicBezTo>
                <a:cubicBezTo>
                  <a:pt x="976115" y="1213030"/>
                  <a:pt x="978530" y="1200949"/>
                  <a:pt x="983019" y="1189902"/>
                </a:cubicBezTo>
                <a:cubicBezTo>
                  <a:pt x="995792" y="1159523"/>
                  <a:pt x="1005457" y="1128109"/>
                  <a:pt x="1016158" y="1097041"/>
                </a:cubicBezTo>
                <a:cubicBezTo>
                  <a:pt x="1022717" y="1078055"/>
                  <a:pt x="1036181" y="1071841"/>
                  <a:pt x="1055513" y="1078055"/>
                </a:cubicBezTo>
                <a:cubicBezTo>
                  <a:pt x="1071737" y="1082887"/>
                  <a:pt x="1084855" y="1093934"/>
                  <a:pt x="1097628" y="1104290"/>
                </a:cubicBezTo>
                <a:cubicBezTo>
                  <a:pt x="1103496" y="1108779"/>
                  <a:pt x="1107983" y="1110504"/>
                  <a:pt x="1115579" y="1107743"/>
                </a:cubicBezTo>
                <a:cubicBezTo>
                  <a:pt x="1135945" y="1100147"/>
                  <a:pt x="1156313" y="1093589"/>
                  <a:pt x="1177026" y="1087375"/>
                </a:cubicBezTo>
                <a:cubicBezTo>
                  <a:pt x="1187726" y="1084268"/>
                  <a:pt x="1185655" y="1080126"/>
                  <a:pt x="1179787" y="1073913"/>
                </a:cubicBezTo>
                <a:cubicBezTo>
                  <a:pt x="1166668" y="1060449"/>
                  <a:pt x="1151134" y="1050438"/>
                  <a:pt x="1135255" y="1041117"/>
                </a:cubicBezTo>
                <a:cubicBezTo>
                  <a:pt x="1062417" y="998311"/>
                  <a:pt x="998207" y="944460"/>
                  <a:pt x="939868" y="883702"/>
                </a:cubicBezTo>
                <a:cubicBezTo>
                  <a:pt x="813177" y="751488"/>
                  <a:pt x="683379" y="622035"/>
                  <a:pt x="549783" y="496379"/>
                </a:cubicBezTo>
                <a:cubicBezTo>
                  <a:pt x="385809" y="341382"/>
                  <a:pt x="211479" y="197084"/>
                  <a:pt x="40947" y="48990"/>
                </a:cubicBezTo>
                <a:cubicBezTo>
                  <a:pt x="28864" y="38635"/>
                  <a:pt x="17472" y="27933"/>
                  <a:pt x="5735" y="17231"/>
                </a:cubicBezTo>
                <a:cubicBezTo>
                  <a:pt x="2283" y="13780"/>
                  <a:pt x="-1859" y="9292"/>
                  <a:pt x="902" y="4114"/>
                </a:cubicBezTo>
                <a:cubicBezTo>
                  <a:pt x="4009" y="-1755"/>
                  <a:pt x="10568" y="-29"/>
                  <a:pt x="15747" y="1352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 w="226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ABA80C23-9532-403F-8276-9AD3849FBC9A}"/>
              </a:ext>
            </a:extLst>
          </p:cNvPr>
          <p:cNvSpPr/>
          <p:nvPr userDrawn="1"/>
        </p:nvSpPr>
        <p:spPr>
          <a:xfrm rot="3600000" flipV="1">
            <a:off x="1481922" y="-359510"/>
            <a:ext cx="1739424" cy="2395147"/>
          </a:xfrm>
          <a:custGeom>
            <a:avLst/>
            <a:gdLst>
              <a:gd name="connsiteX0" fmla="*/ 1077528 w 1739424"/>
              <a:gd name="connsiteY0" fmla="*/ 398319 h 2395147"/>
              <a:gd name="connsiteX1" fmla="*/ 1067918 w 1739424"/>
              <a:gd name="connsiteY1" fmla="*/ 380004 h 2395147"/>
              <a:gd name="connsiteX2" fmla="*/ 1092561 w 1739424"/>
              <a:gd name="connsiteY2" fmla="*/ 411557 h 2395147"/>
              <a:gd name="connsiteX3" fmla="*/ 1093901 w 1739424"/>
              <a:gd name="connsiteY3" fmla="*/ 415398 h 2395147"/>
              <a:gd name="connsiteX4" fmla="*/ 1090150 w 1739424"/>
              <a:gd name="connsiteY4" fmla="*/ 414575 h 2395147"/>
              <a:gd name="connsiteX5" fmla="*/ 1077528 w 1739424"/>
              <a:gd name="connsiteY5" fmla="*/ 398319 h 2395147"/>
              <a:gd name="connsiteX6" fmla="*/ 1064970 w 1739424"/>
              <a:gd name="connsiteY6" fmla="*/ 378632 h 2395147"/>
              <a:gd name="connsiteX7" fmla="*/ 1065239 w 1739424"/>
              <a:gd name="connsiteY7" fmla="*/ 377535 h 2395147"/>
              <a:gd name="connsiteX8" fmla="*/ 1067113 w 1739424"/>
              <a:gd name="connsiteY8" fmla="*/ 379456 h 2395147"/>
              <a:gd name="connsiteX9" fmla="*/ 1064970 w 1739424"/>
              <a:gd name="connsiteY9" fmla="*/ 378632 h 2395147"/>
              <a:gd name="connsiteX10" fmla="*/ 1734633 w 1739424"/>
              <a:gd name="connsiteY10" fmla="*/ 2247062 h 2395147"/>
              <a:gd name="connsiteX11" fmla="*/ 1739424 w 1739424"/>
              <a:gd name="connsiteY11" fmla="*/ 2180709 h 2395147"/>
              <a:gd name="connsiteX12" fmla="*/ 1737481 w 1739424"/>
              <a:gd name="connsiteY12" fmla="*/ 2187429 h 2395147"/>
              <a:gd name="connsiteX13" fmla="*/ 1734633 w 1739424"/>
              <a:gd name="connsiteY13" fmla="*/ 2247062 h 2395147"/>
              <a:gd name="connsiteX14" fmla="*/ 51484 w 1739424"/>
              <a:gd name="connsiteY14" fmla="*/ 1299625 h 2395147"/>
              <a:gd name="connsiteX15" fmla="*/ 225973 w 1739424"/>
              <a:gd name="connsiteY15" fmla="*/ 1500814 h 2395147"/>
              <a:gd name="connsiteX16" fmla="*/ 421792 w 1739424"/>
              <a:gd name="connsiteY16" fmla="*/ 1544987 h 2395147"/>
              <a:gd name="connsiteX17" fmla="*/ 528944 w 1739424"/>
              <a:gd name="connsiteY17" fmla="*/ 1408075 h 2395147"/>
              <a:gd name="connsiteX18" fmla="*/ 515014 w 1739424"/>
              <a:gd name="connsiteY18" fmla="*/ 1396279 h 2395147"/>
              <a:gd name="connsiteX19" fmla="*/ 348661 w 1739424"/>
              <a:gd name="connsiteY19" fmla="*/ 1408350 h 2395147"/>
              <a:gd name="connsiteX20" fmla="*/ 279815 w 1739424"/>
              <a:gd name="connsiteY20" fmla="*/ 1396004 h 2395147"/>
              <a:gd name="connsiteX21" fmla="*/ 319463 w 1739424"/>
              <a:gd name="connsiteY21" fmla="*/ 1397376 h 2395147"/>
              <a:gd name="connsiteX22" fmla="*/ 483940 w 1739424"/>
              <a:gd name="connsiteY22" fmla="*/ 1374603 h 2395147"/>
              <a:gd name="connsiteX23" fmla="*/ 539659 w 1739424"/>
              <a:gd name="connsiteY23" fmla="*/ 1360061 h 2395147"/>
              <a:gd name="connsiteX24" fmla="*/ 725033 w 1739424"/>
              <a:gd name="connsiteY24" fmla="*/ 1297230 h 2395147"/>
              <a:gd name="connsiteX25" fmla="*/ 885491 w 1739424"/>
              <a:gd name="connsiteY25" fmla="*/ 1249489 h 2395147"/>
              <a:gd name="connsiteX26" fmla="*/ 965854 w 1739424"/>
              <a:gd name="connsiteY26" fmla="*/ 1237965 h 2395147"/>
              <a:gd name="connsiteX27" fmla="*/ 1140675 w 1739424"/>
              <a:gd name="connsiteY27" fmla="*/ 1261289 h 2395147"/>
              <a:gd name="connsiteX28" fmla="*/ 1430909 w 1739424"/>
              <a:gd name="connsiteY28" fmla="*/ 1481407 h 2395147"/>
              <a:gd name="connsiteX29" fmla="*/ 1549564 w 1739424"/>
              <a:gd name="connsiteY29" fmla="*/ 1651718 h 2395147"/>
              <a:gd name="connsiteX30" fmla="*/ 1557415 w 1739424"/>
              <a:gd name="connsiteY30" fmla="*/ 1670822 h 2395147"/>
              <a:gd name="connsiteX31" fmla="*/ 1555525 w 1739424"/>
              <a:gd name="connsiteY31" fmla="*/ 1670473 h 2395147"/>
              <a:gd name="connsiteX32" fmla="*/ 1398512 w 1739424"/>
              <a:gd name="connsiteY32" fmla="*/ 1652472 h 2395147"/>
              <a:gd name="connsiteX33" fmla="*/ 1046085 w 1739424"/>
              <a:gd name="connsiteY33" fmla="*/ 1706261 h 2395147"/>
              <a:gd name="connsiteX34" fmla="*/ 1003447 w 1739424"/>
              <a:gd name="connsiteY34" fmla="*/ 1719049 h 2395147"/>
              <a:gd name="connsiteX35" fmla="*/ 1087567 w 1739424"/>
              <a:gd name="connsiteY35" fmla="*/ 1688103 h 2395147"/>
              <a:gd name="connsiteX36" fmla="*/ 1370422 w 1739424"/>
              <a:gd name="connsiteY36" fmla="*/ 1632771 h 2395147"/>
              <a:gd name="connsiteX37" fmla="*/ 1376144 w 1739424"/>
              <a:gd name="connsiteY37" fmla="*/ 1623897 h 2395147"/>
              <a:gd name="connsiteX38" fmla="*/ 1329191 w 1739424"/>
              <a:gd name="connsiteY38" fmla="*/ 1578151 h 2395147"/>
              <a:gd name="connsiteX39" fmla="*/ 1229320 w 1739424"/>
              <a:gd name="connsiteY39" fmla="*/ 1559619 h 2395147"/>
              <a:gd name="connsiteX40" fmla="*/ 996653 w 1739424"/>
              <a:gd name="connsiteY40" fmla="*/ 1626677 h 2395147"/>
              <a:gd name="connsiteX41" fmla="*/ 863114 w 1739424"/>
              <a:gd name="connsiteY41" fmla="*/ 1736938 h 2395147"/>
              <a:gd name="connsiteX42" fmla="*/ 811586 w 1739424"/>
              <a:gd name="connsiteY42" fmla="*/ 1832416 h 2395147"/>
              <a:gd name="connsiteX43" fmla="*/ 807916 w 1739424"/>
              <a:gd name="connsiteY43" fmla="*/ 1845357 h 2395147"/>
              <a:gd name="connsiteX44" fmla="*/ 807963 w 1739424"/>
              <a:gd name="connsiteY44" fmla="*/ 1848892 h 2395147"/>
              <a:gd name="connsiteX45" fmla="*/ 879991 w 1739424"/>
              <a:gd name="connsiteY45" fmla="*/ 1820168 h 2395147"/>
              <a:gd name="connsiteX46" fmla="*/ 1011289 w 1739424"/>
              <a:gd name="connsiteY46" fmla="*/ 1801302 h 2395147"/>
              <a:gd name="connsiteX47" fmla="*/ 1249185 w 1739424"/>
              <a:gd name="connsiteY47" fmla="*/ 1765402 h 2395147"/>
              <a:gd name="connsiteX48" fmla="*/ 1343560 w 1739424"/>
              <a:gd name="connsiteY48" fmla="*/ 1722610 h 2395147"/>
              <a:gd name="connsiteX49" fmla="*/ 1376800 w 1739424"/>
              <a:gd name="connsiteY49" fmla="*/ 1677991 h 2395147"/>
              <a:gd name="connsiteX50" fmla="*/ 1387169 w 1739424"/>
              <a:gd name="connsiteY50" fmla="*/ 1672942 h 2395147"/>
              <a:gd name="connsiteX51" fmla="*/ 1500972 w 1739424"/>
              <a:gd name="connsiteY51" fmla="*/ 1682857 h 2395147"/>
              <a:gd name="connsiteX52" fmla="*/ 1566833 w 1739424"/>
              <a:gd name="connsiteY52" fmla="*/ 1693739 h 2395147"/>
              <a:gd name="connsiteX53" fmla="*/ 1593093 w 1739424"/>
              <a:gd name="connsiteY53" fmla="*/ 1757638 h 2395147"/>
              <a:gd name="connsiteX54" fmla="*/ 1627517 w 1739424"/>
              <a:gd name="connsiteY54" fmla="*/ 1871216 h 2395147"/>
              <a:gd name="connsiteX55" fmla="*/ 1642518 w 1739424"/>
              <a:gd name="connsiteY55" fmla="*/ 1943101 h 2395147"/>
              <a:gd name="connsiteX56" fmla="*/ 1641715 w 1739424"/>
              <a:gd name="connsiteY56" fmla="*/ 2189761 h 2395147"/>
              <a:gd name="connsiteX57" fmla="*/ 1669305 w 1739424"/>
              <a:gd name="connsiteY57" fmla="*/ 2379903 h 2395147"/>
              <a:gd name="connsiteX58" fmla="*/ 1669117 w 1739424"/>
              <a:gd name="connsiteY58" fmla="*/ 2383495 h 2395147"/>
              <a:gd name="connsiteX59" fmla="*/ 1722169 w 1739424"/>
              <a:gd name="connsiteY59" fmla="*/ 2376292 h 2395147"/>
              <a:gd name="connsiteX60" fmla="*/ 1680021 w 1739424"/>
              <a:gd name="connsiteY60" fmla="*/ 2119798 h 2395147"/>
              <a:gd name="connsiteX61" fmla="*/ 1684306 w 1739424"/>
              <a:gd name="connsiteY61" fmla="*/ 1712628 h 2395147"/>
              <a:gd name="connsiteX62" fmla="*/ 1631534 w 1739424"/>
              <a:gd name="connsiteY62" fmla="*/ 1258270 h 2395147"/>
              <a:gd name="connsiteX63" fmla="*/ 1545546 w 1739424"/>
              <a:gd name="connsiteY63" fmla="*/ 1033010 h 2395147"/>
              <a:gd name="connsiteX64" fmla="*/ 1482058 w 1739424"/>
              <a:gd name="connsiteY64" fmla="*/ 912011 h 2395147"/>
              <a:gd name="connsiteX65" fmla="*/ 1482326 w 1739424"/>
              <a:gd name="connsiteY65" fmla="*/ 893903 h 2395147"/>
              <a:gd name="connsiteX66" fmla="*/ 1498131 w 1739424"/>
              <a:gd name="connsiteY66" fmla="*/ 852199 h 2395147"/>
              <a:gd name="connsiteX67" fmla="*/ 1490363 w 1739424"/>
              <a:gd name="connsiteY67" fmla="*/ 758088 h 2395147"/>
              <a:gd name="connsiteX68" fmla="*/ 1392854 w 1739424"/>
              <a:gd name="connsiteY68" fmla="*/ 556701 h 2395147"/>
              <a:gd name="connsiteX69" fmla="*/ 1132209 w 1739424"/>
              <a:gd name="connsiteY69" fmla="*/ 271353 h 2395147"/>
              <a:gd name="connsiteX70" fmla="*/ 813699 w 1739424"/>
              <a:gd name="connsiteY70" fmla="*/ 1097 h 2395147"/>
              <a:gd name="connsiteX71" fmla="*/ 810218 w 1739424"/>
              <a:gd name="connsiteY71" fmla="*/ 0 h 2395147"/>
              <a:gd name="connsiteX72" fmla="*/ 810486 w 1739424"/>
              <a:gd name="connsiteY72" fmla="*/ 4391 h 2395147"/>
              <a:gd name="connsiteX73" fmla="*/ 914155 w 1739424"/>
              <a:gd name="connsiteY73" fmla="*/ 340496 h 2395147"/>
              <a:gd name="connsiteX74" fmla="*/ 1228378 w 1739424"/>
              <a:gd name="connsiteY74" fmla="*/ 826682 h 2395147"/>
              <a:gd name="connsiteX75" fmla="*/ 1341690 w 1739424"/>
              <a:gd name="connsiteY75" fmla="*/ 917499 h 2395147"/>
              <a:gd name="connsiteX76" fmla="*/ 1412410 w 1739424"/>
              <a:gd name="connsiteY76" fmla="*/ 934785 h 2395147"/>
              <a:gd name="connsiteX77" fmla="*/ 1420713 w 1739424"/>
              <a:gd name="connsiteY77" fmla="*/ 920793 h 2395147"/>
              <a:gd name="connsiteX78" fmla="*/ 1351601 w 1739424"/>
              <a:gd name="connsiteY78" fmla="*/ 800342 h 2395147"/>
              <a:gd name="connsiteX79" fmla="*/ 1099795 w 1739424"/>
              <a:gd name="connsiteY79" fmla="*/ 430764 h 2395147"/>
              <a:gd name="connsiteX80" fmla="*/ 1092829 w 1739424"/>
              <a:gd name="connsiteY80" fmla="*/ 418142 h 2395147"/>
              <a:gd name="connsiteX81" fmla="*/ 1101403 w 1739424"/>
              <a:gd name="connsiteY81" fmla="*/ 424179 h 2395147"/>
              <a:gd name="connsiteX82" fmla="*/ 1305794 w 1739424"/>
              <a:gd name="connsiteY82" fmla="*/ 694435 h 2395147"/>
              <a:gd name="connsiteX83" fmla="*/ 1424463 w 1739424"/>
              <a:gd name="connsiteY83" fmla="*/ 872227 h 2395147"/>
              <a:gd name="connsiteX84" fmla="*/ 1500810 w 1739424"/>
              <a:gd name="connsiteY84" fmla="*/ 1008316 h 2395147"/>
              <a:gd name="connsiteX85" fmla="*/ 1610640 w 1739424"/>
              <a:gd name="connsiteY85" fmla="*/ 1310125 h 2395147"/>
              <a:gd name="connsiteX86" fmla="*/ 1646268 w 1739424"/>
              <a:gd name="connsiteY86" fmla="*/ 1762565 h 2395147"/>
              <a:gd name="connsiteX87" fmla="*/ 1643589 w 1739424"/>
              <a:gd name="connsiteY87" fmla="*/ 1766407 h 2395147"/>
              <a:gd name="connsiteX88" fmla="*/ 1637160 w 1739424"/>
              <a:gd name="connsiteY88" fmla="*/ 1747474 h 2395147"/>
              <a:gd name="connsiteX89" fmla="*/ 1480720 w 1739424"/>
              <a:gd name="connsiteY89" fmla="*/ 1478590 h 2395147"/>
              <a:gd name="connsiteX90" fmla="*/ 1140741 w 1739424"/>
              <a:gd name="connsiteY90" fmla="*/ 1210217 h 2395147"/>
              <a:gd name="connsiteX91" fmla="*/ 942550 w 1739424"/>
              <a:gd name="connsiteY91" fmla="*/ 1071697 h 2395147"/>
              <a:gd name="connsiteX92" fmla="*/ 710299 w 1739424"/>
              <a:gd name="connsiteY92" fmla="*/ 861253 h 2395147"/>
              <a:gd name="connsiteX93" fmla="*/ 706012 w 1739424"/>
              <a:gd name="connsiteY93" fmla="*/ 845339 h 2395147"/>
              <a:gd name="connsiteX94" fmla="*/ 722086 w 1739424"/>
              <a:gd name="connsiteY94" fmla="*/ 767417 h 2395147"/>
              <a:gd name="connsiteX95" fmla="*/ 679759 w 1739424"/>
              <a:gd name="connsiteY95" fmla="*/ 625567 h 2395147"/>
              <a:gd name="connsiteX96" fmla="*/ 497603 w 1739424"/>
              <a:gd name="connsiteY96" fmla="*/ 336106 h 2395147"/>
              <a:gd name="connsiteX97" fmla="*/ 396076 w 1739424"/>
              <a:gd name="connsiteY97" fmla="*/ 177244 h 2395147"/>
              <a:gd name="connsiteX98" fmla="*/ 359644 w 1739424"/>
              <a:gd name="connsiteY98" fmla="*/ 72707 h 2395147"/>
              <a:gd name="connsiteX99" fmla="*/ 355893 w 1739424"/>
              <a:gd name="connsiteY99" fmla="*/ 76001 h 2395147"/>
              <a:gd name="connsiteX100" fmla="*/ 345714 w 1739424"/>
              <a:gd name="connsiteY100" fmla="*/ 92187 h 2395147"/>
              <a:gd name="connsiteX101" fmla="*/ 293210 w 1739424"/>
              <a:gd name="connsiteY101" fmla="*/ 237881 h 2395147"/>
              <a:gd name="connsiteX102" fmla="*/ 300978 w 1739424"/>
              <a:gd name="connsiteY102" fmla="*/ 485638 h 2395147"/>
              <a:gd name="connsiteX103" fmla="*/ 445633 w 1739424"/>
              <a:gd name="connsiteY103" fmla="*/ 798970 h 2395147"/>
              <a:gd name="connsiteX104" fmla="*/ 557339 w 1739424"/>
              <a:gd name="connsiteY104" fmla="*/ 888690 h 2395147"/>
              <a:gd name="connsiteX105" fmla="*/ 648686 w 1739424"/>
              <a:gd name="connsiteY105" fmla="*/ 895823 h 2395147"/>
              <a:gd name="connsiteX106" fmla="*/ 652705 w 1739424"/>
              <a:gd name="connsiteY106" fmla="*/ 881283 h 2395147"/>
              <a:gd name="connsiteX107" fmla="*/ 449383 w 1739424"/>
              <a:gd name="connsiteY107" fmla="*/ 525148 h 2395147"/>
              <a:gd name="connsiteX108" fmla="*/ 404113 w 1739424"/>
              <a:gd name="connsiteY108" fmla="*/ 405521 h 2395147"/>
              <a:gd name="connsiteX109" fmla="*/ 430098 w 1739424"/>
              <a:gd name="connsiteY109" fmla="*/ 463414 h 2395147"/>
              <a:gd name="connsiteX110" fmla="*/ 699315 w 1739424"/>
              <a:gd name="connsiteY110" fmla="*/ 892806 h 2395147"/>
              <a:gd name="connsiteX111" fmla="*/ 1003893 w 1739424"/>
              <a:gd name="connsiteY111" fmla="*/ 1157849 h 2395147"/>
              <a:gd name="connsiteX112" fmla="*/ 1056131 w 1739424"/>
              <a:gd name="connsiteY112" fmla="*/ 1196809 h 2395147"/>
              <a:gd name="connsiteX113" fmla="*/ 1026396 w 1739424"/>
              <a:gd name="connsiteY113" fmla="*/ 1194890 h 2395147"/>
              <a:gd name="connsiteX114" fmla="*/ 847988 w 1739424"/>
              <a:gd name="connsiteY114" fmla="*/ 1218760 h 2395147"/>
              <a:gd name="connsiteX115" fmla="*/ 525462 w 1739424"/>
              <a:gd name="connsiteY115" fmla="*/ 1334545 h 2395147"/>
              <a:gd name="connsiteX116" fmla="*/ 506711 w 1739424"/>
              <a:gd name="connsiteY116" fmla="*/ 1327960 h 2395147"/>
              <a:gd name="connsiteX117" fmla="*/ 302050 w 1739424"/>
              <a:gd name="connsiteY117" fmla="*/ 1262933 h 2395147"/>
              <a:gd name="connsiteX118" fmla="*/ 0 w 1739424"/>
              <a:gd name="connsiteY118" fmla="*/ 1208733 h 2395147"/>
              <a:gd name="connsiteX119" fmla="*/ 51484 w 1739424"/>
              <a:gd name="connsiteY119" fmla="*/ 1299625 h 2395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1739424" h="2395147">
                <a:moveTo>
                  <a:pt x="1077528" y="398319"/>
                </a:moveTo>
                <a:cubicBezTo>
                  <a:pt x="1073409" y="392832"/>
                  <a:pt x="1069793" y="387001"/>
                  <a:pt x="1067918" y="380004"/>
                </a:cubicBezTo>
                <a:cubicBezTo>
                  <a:pt x="1077560" y="389333"/>
                  <a:pt x="1085061" y="400308"/>
                  <a:pt x="1092561" y="411557"/>
                </a:cubicBezTo>
                <a:cubicBezTo>
                  <a:pt x="1093366" y="412654"/>
                  <a:pt x="1095240" y="413478"/>
                  <a:pt x="1093901" y="415398"/>
                </a:cubicBezTo>
                <a:cubicBezTo>
                  <a:pt x="1092295" y="417319"/>
                  <a:pt x="1091222" y="415673"/>
                  <a:pt x="1090150" y="414575"/>
                </a:cubicBezTo>
                <a:cubicBezTo>
                  <a:pt x="1086267" y="408951"/>
                  <a:pt x="1081646" y="403807"/>
                  <a:pt x="1077528" y="398319"/>
                </a:cubicBezTo>
                <a:close/>
                <a:moveTo>
                  <a:pt x="1064970" y="378632"/>
                </a:moveTo>
                <a:cubicBezTo>
                  <a:pt x="1064970" y="378359"/>
                  <a:pt x="1065239" y="377810"/>
                  <a:pt x="1065239" y="377535"/>
                </a:cubicBezTo>
                <a:lnTo>
                  <a:pt x="1067113" y="379456"/>
                </a:lnTo>
                <a:cubicBezTo>
                  <a:pt x="1066310" y="380279"/>
                  <a:pt x="1065507" y="380004"/>
                  <a:pt x="1064970" y="378632"/>
                </a:cubicBezTo>
                <a:close/>
                <a:moveTo>
                  <a:pt x="1734633" y="2247062"/>
                </a:moveTo>
                <a:lnTo>
                  <a:pt x="1739424" y="2180709"/>
                </a:lnTo>
                <a:lnTo>
                  <a:pt x="1737481" y="2187429"/>
                </a:lnTo>
                <a:cubicBezTo>
                  <a:pt x="1736531" y="2207307"/>
                  <a:pt x="1735583" y="2227184"/>
                  <a:pt x="1734633" y="2247062"/>
                </a:cubicBezTo>
                <a:close/>
                <a:moveTo>
                  <a:pt x="51484" y="1299625"/>
                </a:moveTo>
                <a:cubicBezTo>
                  <a:pt x="107250" y="1386350"/>
                  <a:pt x="173250" y="1458783"/>
                  <a:pt x="225973" y="1500814"/>
                </a:cubicBezTo>
                <a:cubicBezTo>
                  <a:pt x="296271" y="1556856"/>
                  <a:pt x="349466" y="1562823"/>
                  <a:pt x="421792" y="1544987"/>
                </a:cubicBezTo>
                <a:cubicBezTo>
                  <a:pt x="494924" y="1526879"/>
                  <a:pt x="532962" y="1478041"/>
                  <a:pt x="528944" y="1408075"/>
                </a:cubicBezTo>
                <a:cubicBezTo>
                  <a:pt x="528409" y="1397649"/>
                  <a:pt x="526265" y="1394083"/>
                  <a:pt x="515014" y="1396279"/>
                </a:cubicBezTo>
                <a:cubicBezTo>
                  <a:pt x="460099" y="1406978"/>
                  <a:pt x="404648" y="1412191"/>
                  <a:pt x="348661" y="1408350"/>
                </a:cubicBezTo>
                <a:cubicBezTo>
                  <a:pt x="326160" y="1406978"/>
                  <a:pt x="303657" y="1403412"/>
                  <a:pt x="279815" y="1396004"/>
                </a:cubicBezTo>
                <a:cubicBezTo>
                  <a:pt x="294818" y="1392986"/>
                  <a:pt x="307139" y="1396827"/>
                  <a:pt x="319463" y="1397376"/>
                </a:cubicBezTo>
                <a:cubicBezTo>
                  <a:pt x="375717" y="1400120"/>
                  <a:pt x="429829" y="1388870"/>
                  <a:pt x="483940" y="1374603"/>
                </a:cubicBezTo>
                <a:cubicBezTo>
                  <a:pt x="502424" y="1369665"/>
                  <a:pt x="521443" y="1365549"/>
                  <a:pt x="539659" y="1360061"/>
                </a:cubicBezTo>
                <a:cubicBezTo>
                  <a:pt x="602343" y="1341953"/>
                  <a:pt x="663419" y="1318632"/>
                  <a:pt x="725033" y="1297230"/>
                </a:cubicBezTo>
                <a:cubicBezTo>
                  <a:pt x="777804" y="1278847"/>
                  <a:pt x="831379" y="1263208"/>
                  <a:pt x="885491" y="1249489"/>
                </a:cubicBezTo>
                <a:lnTo>
                  <a:pt x="965854" y="1237965"/>
                </a:lnTo>
                <a:cubicBezTo>
                  <a:pt x="1008386" y="1239932"/>
                  <a:pt x="1063167" y="1220715"/>
                  <a:pt x="1140675" y="1261289"/>
                </a:cubicBezTo>
                <a:cubicBezTo>
                  <a:pt x="1218186" y="1301862"/>
                  <a:pt x="1362760" y="1416335"/>
                  <a:pt x="1430909" y="1481407"/>
                </a:cubicBezTo>
                <a:cubicBezTo>
                  <a:pt x="1499057" y="1546478"/>
                  <a:pt x="1516795" y="1586751"/>
                  <a:pt x="1549564" y="1651718"/>
                </a:cubicBezTo>
                <a:lnTo>
                  <a:pt x="1557415" y="1670822"/>
                </a:lnTo>
                <a:lnTo>
                  <a:pt x="1555525" y="1670473"/>
                </a:lnTo>
                <a:cubicBezTo>
                  <a:pt x="1503614" y="1661478"/>
                  <a:pt x="1446534" y="1653334"/>
                  <a:pt x="1398512" y="1652472"/>
                </a:cubicBezTo>
                <a:cubicBezTo>
                  <a:pt x="1277780" y="1650277"/>
                  <a:pt x="1160915" y="1670735"/>
                  <a:pt x="1046085" y="1706261"/>
                </a:cubicBezTo>
                <a:cubicBezTo>
                  <a:pt x="1031962" y="1710529"/>
                  <a:pt x="1017823" y="1715069"/>
                  <a:pt x="1003447" y="1719049"/>
                </a:cubicBezTo>
                <a:cubicBezTo>
                  <a:pt x="1030832" y="1706926"/>
                  <a:pt x="1059271" y="1697451"/>
                  <a:pt x="1087567" y="1688103"/>
                </a:cubicBezTo>
                <a:cubicBezTo>
                  <a:pt x="1179405" y="1657507"/>
                  <a:pt x="1273537" y="1637923"/>
                  <a:pt x="1370422" y="1632771"/>
                </a:cubicBezTo>
                <a:cubicBezTo>
                  <a:pt x="1377778" y="1632422"/>
                  <a:pt x="1379106" y="1630739"/>
                  <a:pt x="1376144" y="1623897"/>
                </a:cubicBezTo>
                <a:cubicBezTo>
                  <a:pt x="1366655" y="1602111"/>
                  <a:pt x="1350034" y="1587888"/>
                  <a:pt x="1329191" y="1578151"/>
                </a:cubicBezTo>
                <a:cubicBezTo>
                  <a:pt x="1297530" y="1563385"/>
                  <a:pt x="1263689" y="1559482"/>
                  <a:pt x="1229320" y="1559619"/>
                </a:cubicBezTo>
                <a:cubicBezTo>
                  <a:pt x="1145365" y="1560020"/>
                  <a:pt x="1068453" y="1584359"/>
                  <a:pt x="996653" y="1626677"/>
                </a:cubicBezTo>
                <a:cubicBezTo>
                  <a:pt x="946428" y="1656370"/>
                  <a:pt x="899719" y="1690631"/>
                  <a:pt x="863114" y="1736938"/>
                </a:cubicBezTo>
                <a:cubicBezTo>
                  <a:pt x="840384" y="1765651"/>
                  <a:pt x="822768" y="1797268"/>
                  <a:pt x="811586" y="1832416"/>
                </a:cubicBezTo>
                <a:cubicBezTo>
                  <a:pt x="810229" y="1836675"/>
                  <a:pt x="809000" y="1841079"/>
                  <a:pt x="807916" y="1845357"/>
                </a:cubicBezTo>
                <a:cubicBezTo>
                  <a:pt x="807864" y="1846169"/>
                  <a:pt x="807939" y="1847124"/>
                  <a:pt x="807963" y="1848892"/>
                </a:cubicBezTo>
                <a:cubicBezTo>
                  <a:pt x="831400" y="1836927"/>
                  <a:pt x="855096" y="1827287"/>
                  <a:pt x="879991" y="1820168"/>
                </a:cubicBezTo>
                <a:cubicBezTo>
                  <a:pt x="922865" y="1807938"/>
                  <a:pt x="966993" y="1803800"/>
                  <a:pt x="1011289" y="1801302"/>
                </a:cubicBezTo>
                <a:cubicBezTo>
                  <a:pt x="1091805" y="1797289"/>
                  <a:pt x="1171657" y="1788752"/>
                  <a:pt x="1249185" y="1765402"/>
                </a:cubicBezTo>
                <a:cubicBezTo>
                  <a:pt x="1282546" y="1755423"/>
                  <a:pt x="1315560" y="1744472"/>
                  <a:pt x="1343560" y="1722610"/>
                </a:cubicBezTo>
                <a:cubicBezTo>
                  <a:pt x="1358845" y="1710673"/>
                  <a:pt x="1371004" y="1696638"/>
                  <a:pt x="1376800" y="1677991"/>
                </a:cubicBezTo>
                <a:cubicBezTo>
                  <a:pt x="1378851" y="1671330"/>
                  <a:pt x="1382967" y="1672813"/>
                  <a:pt x="1387169" y="1672942"/>
                </a:cubicBezTo>
                <a:cubicBezTo>
                  <a:pt x="1424336" y="1673661"/>
                  <a:pt x="1463273" y="1677620"/>
                  <a:pt x="1500972" y="1682857"/>
                </a:cubicBezTo>
                <a:lnTo>
                  <a:pt x="1566833" y="1693739"/>
                </a:lnTo>
                <a:lnTo>
                  <a:pt x="1593093" y="1757638"/>
                </a:lnTo>
                <a:cubicBezTo>
                  <a:pt x="1605907" y="1794995"/>
                  <a:pt x="1617203" y="1833627"/>
                  <a:pt x="1627517" y="1871216"/>
                </a:cubicBezTo>
                <a:cubicBezTo>
                  <a:pt x="1633946" y="1894812"/>
                  <a:pt x="1643322" y="1918133"/>
                  <a:pt x="1642518" y="1943101"/>
                </a:cubicBezTo>
                <a:cubicBezTo>
                  <a:pt x="1640107" y="2025412"/>
                  <a:pt x="1638499" y="2107725"/>
                  <a:pt x="1641715" y="2189761"/>
                </a:cubicBezTo>
                <a:cubicBezTo>
                  <a:pt x="1644125" y="2253964"/>
                  <a:pt x="1644928" y="2318717"/>
                  <a:pt x="1669305" y="2379903"/>
                </a:cubicBezTo>
                <a:cubicBezTo>
                  <a:pt x="1669242" y="2381100"/>
                  <a:pt x="1669180" y="2382297"/>
                  <a:pt x="1669117" y="2383495"/>
                </a:cubicBezTo>
                <a:cubicBezTo>
                  <a:pt x="1673135" y="2372016"/>
                  <a:pt x="1720350" y="2420240"/>
                  <a:pt x="1722169" y="2376292"/>
                </a:cubicBezTo>
                <a:cubicBezTo>
                  <a:pt x="1711719" y="2312911"/>
                  <a:pt x="1681361" y="2183726"/>
                  <a:pt x="1680021" y="2119798"/>
                </a:cubicBezTo>
                <a:cubicBezTo>
                  <a:pt x="1677610" y="1983983"/>
                  <a:pt x="1684308" y="1848168"/>
                  <a:pt x="1684306" y="1712628"/>
                </a:cubicBezTo>
                <a:cubicBezTo>
                  <a:pt x="1684306" y="1558981"/>
                  <a:pt x="1673055" y="1406703"/>
                  <a:pt x="1631534" y="1258270"/>
                </a:cubicBezTo>
                <a:cubicBezTo>
                  <a:pt x="1609835" y="1180348"/>
                  <a:pt x="1581442" y="1105169"/>
                  <a:pt x="1545546" y="1033010"/>
                </a:cubicBezTo>
                <a:cubicBezTo>
                  <a:pt x="1520632" y="975301"/>
                  <a:pt x="1492596" y="935197"/>
                  <a:pt x="1482058" y="912011"/>
                </a:cubicBezTo>
                <a:cubicBezTo>
                  <a:pt x="1478307" y="905426"/>
                  <a:pt x="1477504" y="900763"/>
                  <a:pt x="1482326" y="893903"/>
                </a:cubicBezTo>
                <a:cubicBezTo>
                  <a:pt x="1491434" y="881558"/>
                  <a:pt x="1495452" y="867289"/>
                  <a:pt x="1498131" y="852199"/>
                </a:cubicBezTo>
                <a:cubicBezTo>
                  <a:pt x="1504024" y="820097"/>
                  <a:pt x="1498131" y="788819"/>
                  <a:pt x="1490363" y="758088"/>
                </a:cubicBezTo>
                <a:cubicBezTo>
                  <a:pt x="1471344" y="684284"/>
                  <a:pt x="1433840" y="619531"/>
                  <a:pt x="1392854" y="556701"/>
                </a:cubicBezTo>
                <a:cubicBezTo>
                  <a:pt x="1321331" y="446953"/>
                  <a:pt x="1229715" y="356135"/>
                  <a:pt x="1132209" y="271353"/>
                </a:cubicBezTo>
                <a:cubicBezTo>
                  <a:pt x="1027199" y="179713"/>
                  <a:pt x="917637" y="94109"/>
                  <a:pt x="813699" y="1097"/>
                </a:cubicBezTo>
                <a:cubicBezTo>
                  <a:pt x="812897" y="275"/>
                  <a:pt x="811557" y="275"/>
                  <a:pt x="810218" y="0"/>
                </a:cubicBezTo>
                <a:cubicBezTo>
                  <a:pt x="810218" y="1920"/>
                  <a:pt x="810218" y="3292"/>
                  <a:pt x="810486" y="4391"/>
                </a:cubicBezTo>
                <a:cubicBezTo>
                  <a:pt x="830845" y="120998"/>
                  <a:pt x="868080" y="232118"/>
                  <a:pt x="914155" y="340496"/>
                </a:cubicBezTo>
                <a:cubicBezTo>
                  <a:pt x="991303" y="521307"/>
                  <a:pt x="1092561" y="685930"/>
                  <a:pt x="1228378" y="826682"/>
                </a:cubicBezTo>
                <a:cubicBezTo>
                  <a:pt x="1262397" y="861803"/>
                  <a:pt x="1298293" y="894726"/>
                  <a:pt x="1341690" y="917499"/>
                </a:cubicBezTo>
                <a:cubicBezTo>
                  <a:pt x="1363924" y="929022"/>
                  <a:pt x="1387228" y="936431"/>
                  <a:pt x="1412410" y="934785"/>
                </a:cubicBezTo>
                <a:cubicBezTo>
                  <a:pt x="1427143" y="933960"/>
                  <a:pt x="1427411" y="933688"/>
                  <a:pt x="1420713" y="920793"/>
                </a:cubicBezTo>
                <a:cubicBezTo>
                  <a:pt x="1399015" y="879911"/>
                  <a:pt x="1375709" y="839852"/>
                  <a:pt x="1351601" y="800342"/>
                </a:cubicBezTo>
                <a:cubicBezTo>
                  <a:pt x="1273648" y="672759"/>
                  <a:pt x="1185784" y="552310"/>
                  <a:pt x="1099795" y="430764"/>
                </a:cubicBezTo>
                <a:cubicBezTo>
                  <a:pt x="1097116" y="426923"/>
                  <a:pt x="1093098" y="423630"/>
                  <a:pt x="1092829" y="418142"/>
                </a:cubicBezTo>
                <a:cubicBezTo>
                  <a:pt x="1098455" y="417594"/>
                  <a:pt x="1099527" y="421710"/>
                  <a:pt x="1101403" y="424179"/>
                </a:cubicBezTo>
                <a:cubicBezTo>
                  <a:pt x="1170247" y="513625"/>
                  <a:pt x="1239895" y="602520"/>
                  <a:pt x="1305794" y="694435"/>
                </a:cubicBezTo>
                <a:cubicBezTo>
                  <a:pt x="1347316" y="752328"/>
                  <a:pt x="1387228" y="811318"/>
                  <a:pt x="1424463" y="872227"/>
                </a:cubicBezTo>
                <a:cubicBezTo>
                  <a:pt x="1451519" y="916677"/>
                  <a:pt x="1476165" y="962497"/>
                  <a:pt x="1500810" y="1008316"/>
                </a:cubicBezTo>
                <a:cubicBezTo>
                  <a:pt x="1531839" y="1081300"/>
                  <a:pt x="1586397" y="1184417"/>
                  <a:pt x="1610640" y="1310125"/>
                </a:cubicBezTo>
                <a:cubicBezTo>
                  <a:pt x="1644660" y="1459110"/>
                  <a:pt x="1650018" y="1610562"/>
                  <a:pt x="1646268" y="1762565"/>
                </a:cubicBezTo>
                <a:cubicBezTo>
                  <a:pt x="1646268" y="1763937"/>
                  <a:pt x="1647071" y="1766407"/>
                  <a:pt x="1643589" y="1766407"/>
                </a:cubicBezTo>
                <a:lnTo>
                  <a:pt x="1637160" y="1747474"/>
                </a:lnTo>
                <a:cubicBezTo>
                  <a:pt x="1602603" y="1647053"/>
                  <a:pt x="1563456" y="1568132"/>
                  <a:pt x="1480720" y="1478590"/>
                </a:cubicBezTo>
                <a:cubicBezTo>
                  <a:pt x="1397982" y="1389046"/>
                  <a:pt x="1230435" y="1278034"/>
                  <a:pt x="1140741" y="1210217"/>
                </a:cubicBezTo>
                <a:cubicBezTo>
                  <a:pt x="1051045" y="1142403"/>
                  <a:pt x="1014290" y="1129857"/>
                  <a:pt x="942550" y="1071697"/>
                </a:cubicBezTo>
                <a:cubicBezTo>
                  <a:pt x="870809" y="1013535"/>
                  <a:pt x="780483" y="939723"/>
                  <a:pt x="710299" y="861253"/>
                </a:cubicBezTo>
                <a:cubicBezTo>
                  <a:pt x="706280" y="856863"/>
                  <a:pt x="700922" y="853846"/>
                  <a:pt x="706012" y="845339"/>
                </a:cubicBezTo>
                <a:cubicBezTo>
                  <a:pt x="720210" y="821469"/>
                  <a:pt x="723692" y="795129"/>
                  <a:pt x="722086" y="767417"/>
                </a:cubicBezTo>
                <a:cubicBezTo>
                  <a:pt x="719139" y="716659"/>
                  <a:pt x="700119" y="670839"/>
                  <a:pt x="679759" y="625567"/>
                </a:cubicBezTo>
                <a:cubicBezTo>
                  <a:pt x="632613" y="520209"/>
                  <a:pt x="567787" y="426373"/>
                  <a:pt x="497603" y="336106"/>
                </a:cubicBezTo>
                <a:cubicBezTo>
                  <a:pt x="459296" y="286170"/>
                  <a:pt x="422864" y="234862"/>
                  <a:pt x="396076" y="177244"/>
                </a:cubicBezTo>
                <a:cubicBezTo>
                  <a:pt x="380539" y="143770"/>
                  <a:pt x="368752" y="109200"/>
                  <a:pt x="359644" y="72707"/>
                </a:cubicBezTo>
                <a:cubicBezTo>
                  <a:pt x="357769" y="74354"/>
                  <a:pt x="356698" y="75177"/>
                  <a:pt x="355893" y="76001"/>
                </a:cubicBezTo>
                <a:cubicBezTo>
                  <a:pt x="352411" y="81214"/>
                  <a:pt x="348930" y="86702"/>
                  <a:pt x="345714" y="92187"/>
                </a:cubicBezTo>
                <a:cubicBezTo>
                  <a:pt x="319195" y="137460"/>
                  <a:pt x="302318" y="186298"/>
                  <a:pt x="293210" y="237881"/>
                </a:cubicBezTo>
                <a:cubicBezTo>
                  <a:pt x="278477" y="321014"/>
                  <a:pt x="285709" y="403600"/>
                  <a:pt x="300978" y="485638"/>
                </a:cubicBezTo>
                <a:cubicBezTo>
                  <a:pt x="322945" y="602795"/>
                  <a:pt x="368485" y="708427"/>
                  <a:pt x="445633" y="798970"/>
                </a:cubicBezTo>
                <a:cubicBezTo>
                  <a:pt x="477244" y="836010"/>
                  <a:pt x="512603" y="868661"/>
                  <a:pt x="557339" y="888690"/>
                </a:cubicBezTo>
                <a:cubicBezTo>
                  <a:pt x="586806" y="901860"/>
                  <a:pt x="617075" y="906251"/>
                  <a:pt x="648686" y="895823"/>
                </a:cubicBezTo>
                <a:cubicBezTo>
                  <a:pt x="658597" y="892531"/>
                  <a:pt x="659134" y="889513"/>
                  <a:pt x="652705" y="881283"/>
                </a:cubicBezTo>
                <a:cubicBezTo>
                  <a:pt x="568590" y="772357"/>
                  <a:pt x="502156" y="652731"/>
                  <a:pt x="449383" y="525148"/>
                </a:cubicBezTo>
                <a:cubicBezTo>
                  <a:pt x="433043" y="485913"/>
                  <a:pt x="416703" y="446403"/>
                  <a:pt x="404113" y="405521"/>
                </a:cubicBezTo>
                <a:cubicBezTo>
                  <a:pt x="413219" y="424727"/>
                  <a:pt x="421524" y="444207"/>
                  <a:pt x="430098" y="463414"/>
                </a:cubicBezTo>
                <a:cubicBezTo>
                  <a:pt x="498942" y="620354"/>
                  <a:pt x="585466" y="765223"/>
                  <a:pt x="699315" y="892806"/>
                </a:cubicBezTo>
                <a:cubicBezTo>
                  <a:pt x="789859" y="994324"/>
                  <a:pt x="944425" y="1107182"/>
                  <a:pt x="1003893" y="1157849"/>
                </a:cubicBezTo>
                <a:cubicBezTo>
                  <a:pt x="1063363" y="1208516"/>
                  <a:pt x="1052380" y="1190636"/>
                  <a:pt x="1056131" y="1196809"/>
                </a:cubicBezTo>
                <a:lnTo>
                  <a:pt x="1026396" y="1194890"/>
                </a:lnTo>
                <a:cubicBezTo>
                  <a:pt x="965588" y="1191871"/>
                  <a:pt x="906386" y="1202297"/>
                  <a:pt x="847988" y="1218760"/>
                </a:cubicBezTo>
                <a:cubicBezTo>
                  <a:pt x="737889" y="1250038"/>
                  <a:pt x="632344" y="1294212"/>
                  <a:pt x="525462" y="1334545"/>
                </a:cubicBezTo>
                <a:cubicBezTo>
                  <a:pt x="516622" y="1337837"/>
                  <a:pt x="511532" y="1338934"/>
                  <a:pt x="506711" y="1327960"/>
                </a:cubicBezTo>
                <a:cubicBezTo>
                  <a:pt x="468939" y="1241807"/>
                  <a:pt x="387055" y="1245709"/>
                  <a:pt x="302050" y="1262933"/>
                </a:cubicBezTo>
                <a:cubicBezTo>
                  <a:pt x="225689" y="1278407"/>
                  <a:pt x="119549" y="1258220"/>
                  <a:pt x="0" y="1208733"/>
                </a:cubicBezTo>
                <a:cubicBezTo>
                  <a:pt x="15444" y="1240221"/>
                  <a:pt x="32896" y="1270717"/>
                  <a:pt x="51484" y="129962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672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11CEBA1-0EDA-4340-A4AD-56B021D0A009}"/>
              </a:ext>
            </a:extLst>
          </p:cNvPr>
          <p:cNvSpPr/>
          <p:nvPr userDrawn="1"/>
        </p:nvSpPr>
        <p:spPr>
          <a:xfrm>
            <a:off x="553627" y="3377149"/>
            <a:ext cx="455455" cy="455455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CF2F2F2-DE5A-4BD1-85CE-DD9ECFCBD255}"/>
              </a:ext>
            </a:extLst>
          </p:cNvPr>
          <p:cNvSpPr/>
          <p:nvPr userDrawn="1"/>
        </p:nvSpPr>
        <p:spPr>
          <a:xfrm>
            <a:off x="2433278" y="3595190"/>
            <a:ext cx="464131" cy="464131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C92DCE5-2166-4668-B521-0638D75A07ED}"/>
              </a:ext>
            </a:extLst>
          </p:cNvPr>
          <p:cNvSpPr/>
          <p:nvPr userDrawn="1"/>
        </p:nvSpPr>
        <p:spPr>
          <a:xfrm>
            <a:off x="2314576" y="5741793"/>
            <a:ext cx="715838" cy="715838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9050765-659D-4573-A04D-668C8D965743}"/>
              </a:ext>
            </a:extLst>
          </p:cNvPr>
          <p:cNvSpPr/>
          <p:nvPr userDrawn="1"/>
        </p:nvSpPr>
        <p:spPr>
          <a:xfrm>
            <a:off x="2771987" y="3611116"/>
            <a:ext cx="826317" cy="826317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27A1F9B-E51F-46C1-928E-641E8940A002}"/>
              </a:ext>
            </a:extLst>
          </p:cNvPr>
          <p:cNvSpPr/>
          <p:nvPr userDrawn="1"/>
        </p:nvSpPr>
        <p:spPr>
          <a:xfrm>
            <a:off x="1352551" y="4688929"/>
            <a:ext cx="225712" cy="225712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2E7F8D1-0943-4483-BBC8-C0EA02399BA2}"/>
              </a:ext>
            </a:extLst>
          </p:cNvPr>
          <p:cNvSpPr/>
          <p:nvPr userDrawn="1"/>
        </p:nvSpPr>
        <p:spPr>
          <a:xfrm>
            <a:off x="820518" y="824946"/>
            <a:ext cx="464131" cy="464131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3C29172-A0D3-46ED-9F09-2AB2F89E9419}"/>
              </a:ext>
            </a:extLst>
          </p:cNvPr>
          <p:cNvSpPr/>
          <p:nvPr userDrawn="1"/>
        </p:nvSpPr>
        <p:spPr>
          <a:xfrm>
            <a:off x="245875" y="388836"/>
            <a:ext cx="826317" cy="826317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5889500-846F-42F1-99B4-64FC8796EC66}"/>
              </a:ext>
            </a:extLst>
          </p:cNvPr>
          <p:cNvSpPr/>
          <p:nvPr userDrawn="1"/>
        </p:nvSpPr>
        <p:spPr>
          <a:xfrm>
            <a:off x="29855" y="5050411"/>
            <a:ext cx="225712" cy="225712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BD4DB23-347B-441F-B307-6A5452DFA1EB}"/>
              </a:ext>
            </a:extLst>
          </p:cNvPr>
          <p:cNvSpPr/>
          <p:nvPr userDrawn="1"/>
        </p:nvSpPr>
        <p:spPr>
          <a:xfrm>
            <a:off x="692606" y="3716895"/>
            <a:ext cx="255823" cy="255823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AA81D6F-6D57-49A7-ACE9-4CB76CAB4B5B}"/>
              </a:ext>
            </a:extLst>
          </p:cNvPr>
          <p:cNvSpPr/>
          <p:nvPr userDrawn="1"/>
        </p:nvSpPr>
        <p:spPr>
          <a:xfrm>
            <a:off x="3312555" y="1679029"/>
            <a:ext cx="225712" cy="225712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FDB441B-A93D-469C-8F26-6C38E82A4BEC}"/>
              </a:ext>
            </a:extLst>
          </p:cNvPr>
          <p:cNvSpPr/>
          <p:nvPr userDrawn="1"/>
        </p:nvSpPr>
        <p:spPr>
          <a:xfrm>
            <a:off x="2959433" y="163124"/>
            <a:ext cx="122626" cy="122626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5835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solidFill>
                  <a:srgbClr val="002060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 hasCustomPrompt="1"/>
          </p:nvPr>
        </p:nvSpPr>
        <p:spPr>
          <a:xfrm>
            <a:off x="2169427" y="1460504"/>
            <a:ext cx="9412973" cy="4662488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pic>
        <p:nvPicPr>
          <p:cNvPr id="14" name="圖片 13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1" y="6344034"/>
            <a:ext cx="2759459" cy="504056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47D55A8-6893-490F-95D9-20F0741B4570}"/>
              </a:ext>
            </a:extLst>
          </p:cNvPr>
          <p:cNvSpPr/>
          <p:nvPr userDrawn="1"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7164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67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266FF4A9-2A75-4D4B-9D2F-7242AD967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3FB084FC-4765-4755-AD3B-482A39147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D3C00B1D-7B21-4238-956E-C1C95A677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FE4271-9E32-4426-8659-0C1E04CACBB1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462073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1B736FA-850D-4ED7-8AE5-3889900B84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1DA39252-6243-4D4F-91DE-861F0CA674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90BDB86-70E8-445B-9DA4-A1D1A881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CEB56-EE36-43F1-AC68-90EFE8DA96A7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183327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93E15543-C74C-42F4-9C2B-9BF2B99B0B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A3DB6965-94F3-4368-9AFB-062D3C33EB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7660ECA1-E94D-45BB-BD81-24F1AF2DD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26754-6B2C-4383-AB57-BE4BBB81A19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51316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5" name="日期版面配置區 3">
            <a:extLst>
              <a:ext uri="{FF2B5EF4-FFF2-40B4-BE49-F238E27FC236}">
                <a16:creationId xmlns:a16="http://schemas.microsoft.com/office/drawing/2014/main" id="{4013DFF0-BD9F-499F-9AC9-C1C7B15511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頁尾版面配置區 4">
            <a:extLst>
              <a:ext uri="{FF2B5EF4-FFF2-40B4-BE49-F238E27FC236}">
                <a16:creationId xmlns:a16="http://schemas.microsoft.com/office/drawing/2014/main" id="{5F020ED7-69D8-4F6C-A7E0-FC4D37A32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>
            <a:extLst>
              <a:ext uri="{FF2B5EF4-FFF2-40B4-BE49-F238E27FC236}">
                <a16:creationId xmlns:a16="http://schemas.microsoft.com/office/drawing/2014/main" id="{EA972A4C-1AB4-424D-8F69-275D8FDC2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56344A-09F0-4F23-9C97-0FDE8AAB8723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738992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67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4" indent="0">
              <a:buNone/>
              <a:defRPr sz="1867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7" name="日期版面配置區 3">
            <a:extLst>
              <a:ext uri="{FF2B5EF4-FFF2-40B4-BE49-F238E27FC236}">
                <a16:creationId xmlns:a16="http://schemas.microsoft.com/office/drawing/2014/main" id="{E4918526-8547-4AC5-A71B-BEC93591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頁尾版面配置區 4">
            <a:extLst>
              <a:ext uri="{FF2B5EF4-FFF2-40B4-BE49-F238E27FC236}">
                <a16:creationId xmlns:a16="http://schemas.microsoft.com/office/drawing/2014/main" id="{E0403A56-10F8-4F00-B266-A947A461A2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9" name="投影片編號版面配置區 5">
            <a:extLst>
              <a:ext uri="{FF2B5EF4-FFF2-40B4-BE49-F238E27FC236}">
                <a16:creationId xmlns:a16="http://schemas.microsoft.com/office/drawing/2014/main" id="{AD3AA5D7-AD47-45E4-84F1-B81CBBD1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DA7E30-4D5B-4347-B891-8596757C68B5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017100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3">
            <a:extLst>
              <a:ext uri="{FF2B5EF4-FFF2-40B4-BE49-F238E27FC236}">
                <a16:creationId xmlns:a16="http://schemas.microsoft.com/office/drawing/2014/main" id="{7947C29C-50E2-46BE-9B23-97E71E7FA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頁尾版面配置區 4">
            <a:extLst>
              <a:ext uri="{FF2B5EF4-FFF2-40B4-BE49-F238E27FC236}">
                <a16:creationId xmlns:a16="http://schemas.microsoft.com/office/drawing/2014/main" id="{1D4A93F7-5A36-49F6-B8ED-B7923B37B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投影片編號版面配置區 5">
            <a:extLst>
              <a:ext uri="{FF2B5EF4-FFF2-40B4-BE49-F238E27FC236}">
                <a16:creationId xmlns:a16="http://schemas.microsoft.com/office/drawing/2014/main" id="{6E75629F-FB7B-47AB-B019-B7F0CA2F2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ABB9B-FA64-4CA0-A0B3-B1F643A7A13B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78063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>
            <a:extLst>
              <a:ext uri="{FF2B5EF4-FFF2-40B4-BE49-F238E27FC236}">
                <a16:creationId xmlns:a16="http://schemas.microsoft.com/office/drawing/2014/main" id="{73968097-271D-4B72-8AFC-39497E03D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頁尾版面配置區 4">
            <a:extLst>
              <a:ext uri="{FF2B5EF4-FFF2-40B4-BE49-F238E27FC236}">
                <a16:creationId xmlns:a16="http://schemas.microsoft.com/office/drawing/2014/main" id="{853969ED-BAC4-4A9F-9A27-29103235A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5">
            <a:extLst>
              <a:ext uri="{FF2B5EF4-FFF2-40B4-BE49-F238E27FC236}">
                <a16:creationId xmlns:a16="http://schemas.microsoft.com/office/drawing/2014/main" id="{E3F5C3D2-9FD8-462E-9745-A9CC542E0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1CC57A-F3E8-4A0F-AA17-379ABB3D8FCA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95226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2060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379200" y="6239671"/>
            <a:ext cx="2275200" cy="365125"/>
          </a:xfrm>
        </p:spPr>
        <p:txBody>
          <a:bodyPr/>
          <a:lstStyle>
            <a:lvl1pPr>
              <a:defRPr sz="16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fld id="{3CBD9E41-3741-4017-A2C2-A6D983F224CA}" type="slidenum">
              <a:rPr lang="zh-TW" altLang="en-US" smtClean="0"/>
              <a:pPr/>
              <a:t>‹#›</a:t>
            </a:fld>
            <a:endParaRPr lang="zh-TW" altLang="en-US" dirty="0">
              <a:latin typeface="+mj-lt"/>
            </a:endParaRPr>
          </a:p>
        </p:txBody>
      </p:sp>
      <p:pic>
        <p:nvPicPr>
          <p:cNvPr id="14" name="圖片 13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1" y="6286884"/>
            <a:ext cx="2759459" cy="504056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47D55A8-6893-490F-95D9-20F0741B4570}"/>
              </a:ext>
            </a:extLst>
          </p:cNvPr>
          <p:cNvSpPr/>
          <p:nvPr userDrawn="1"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內容版面配置區 2">
            <a:extLst>
              <a:ext uri="{FF2B5EF4-FFF2-40B4-BE49-F238E27FC236}">
                <a16:creationId xmlns:a16="http://schemas.microsoft.com/office/drawing/2014/main" id="{A21667E1-8053-4B38-90F5-15F6D03F2F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89514" y="1380519"/>
            <a:ext cx="9412973" cy="4662488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</a:lstStyle>
          <a:p>
            <a:pPr lvl="1"/>
            <a:r>
              <a:rPr lang="zh-TW" altLang="en-US" dirty="0"/>
              <a:t>第一層</a:t>
            </a:r>
          </a:p>
          <a:p>
            <a:pPr lvl="2"/>
            <a:r>
              <a:rPr lang="zh-TW" altLang="en-US" dirty="0"/>
              <a:t>第二層</a:t>
            </a:r>
          </a:p>
          <a:p>
            <a:pPr lvl="3"/>
            <a:r>
              <a:rPr lang="zh-TW" altLang="en-US" dirty="0"/>
              <a:t>第三層</a:t>
            </a:r>
          </a:p>
          <a:p>
            <a:pPr lvl="4"/>
            <a:r>
              <a:rPr lang="zh-TW" altLang="en-US" dirty="0"/>
              <a:t>第四層</a:t>
            </a:r>
          </a:p>
        </p:txBody>
      </p:sp>
    </p:spTree>
    <p:extLst>
      <p:ext uri="{BB962C8B-B14F-4D97-AF65-F5344CB8AC3E}">
        <p14:creationId xmlns:p14="http://schemas.microsoft.com/office/powerpoint/2010/main" val="22756000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67"/>
            </a:lvl2pPr>
            <a:lvl3pPr marL="914354" indent="0">
              <a:buNone/>
              <a:defRPr sz="1200"/>
            </a:lvl3pPr>
            <a:lvl4pPr marL="1371532" indent="0">
              <a:buNone/>
              <a:defRPr sz="1067"/>
            </a:lvl4pPr>
            <a:lvl5pPr marL="1828709" indent="0">
              <a:buNone/>
              <a:defRPr sz="1067"/>
            </a:lvl5pPr>
            <a:lvl6pPr marL="2285886" indent="0">
              <a:buNone/>
              <a:defRPr sz="1067"/>
            </a:lvl6pPr>
            <a:lvl7pPr marL="2743062" indent="0">
              <a:buNone/>
              <a:defRPr sz="1067"/>
            </a:lvl7pPr>
            <a:lvl8pPr marL="3200240" indent="0">
              <a:buNone/>
              <a:defRPr sz="1067"/>
            </a:lvl8pPr>
            <a:lvl9pPr marL="3657418" indent="0">
              <a:buNone/>
              <a:defRPr sz="1067"/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5" name="日期版面配置區 3">
            <a:extLst>
              <a:ext uri="{FF2B5EF4-FFF2-40B4-BE49-F238E27FC236}">
                <a16:creationId xmlns:a16="http://schemas.microsoft.com/office/drawing/2014/main" id="{706FD197-7F34-4D6B-BBBF-B0B0FF363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頁尾版面配置區 4">
            <a:extLst>
              <a:ext uri="{FF2B5EF4-FFF2-40B4-BE49-F238E27FC236}">
                <a16:creationId xmlns:a16="http://schemas.microsoft.com/office/drawing/2014/main" id="{7AFED074-9EB6-4F01-B66D-0C3F62912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>
            <a:extLst>
              <a:ext uri="{FF2B5EF4-FFF2-40B4-BE49-F238E27FC236}">
                <a16:creationId xmlns:a16="http://schemas.microsoft.com/office/drawing/2014/main" id="{45D89BB5-4A0F-4D8D-8B65-E78D32F82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877EA-D485-4972-B979-7BE37D82089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9673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4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2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67"/>
            </a:lvl2pPr>
            <a:lvl3pPr marL="914354" indent="0">
              <a:buNone/>
              <a:defRPr sz="1200"/>
            </a:lvl3pPr>
            <a:lvl4pPr marL="1371532" indent="0">
              <a:buNone/>
              <a:defRPr sz="1067"/>
            </a:lvl4pPr>
            <a:lvl5pPr marL="1828709" indent="0">
              <a:buNone/>
              <a:defRPr sz="1067"/>
            </a:lvl5pPr>
            <a:lvl6pPr marL="2285886" indent="0">
              <a:buNone/>
              <a:defRPr sz="1067"/>
            </a:lvl6pPr>
            <a:lvl7pPr marL="2743062" indent="0">
              <a:buNone/>
              <a:defRPr sz="1067"/>
            </a:lvl7pPr>
            <a:lvl8pPr marL="3200240" indent="0">
              <a:buNone/>
              <a:defRPr sz="1067"/>
            </a:lvl8pPr>
            <a:lvl9pPr marL="3657418" indent="0">
              <a:buNone/>
              <a:defRPr sz="1067"/>
            </a:lvl9pPr>
          </a:lstStyle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5" name="日期版面配置區 3">
            <a:extLst>
              <a:ext uri="{FF2B5EF4-FFF2-40B4-BE49-F238E27FC236}">
                <a16:creationId xmlns:a16="http://schemas.microsoft.com/office/drawing/2014/main" id="{A274ABE3-3089-4162-BF89-8783D57C6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頁尾版面配置區 4">
            <a:extLst>
              <a:ext uri="{FF2B5EF4-FFF2-40B4-BE49-F238E27FC236}">
                <a16:creationId xmlns:a16="http://schemas.microsoft.com/office/drawing/2014/main" id="{E948AB67-B8C0-4C1E-99C5-EA65125F7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5">
            <a:extLst>
              <a:ext uri="{FF2B5EF4-FFF2-40B4-BE49-F238E27FC236}">
                <a16:creationId xmlns:a16="http://schemas.microsoft.com/office/drawing/2014/main" id="{1285E322-9991-412F-835E-017D27CCA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F9ED83-86F9-4DDE-A267-E37454A4D76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344571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C590A0EF-585C-4540-BC52-FF0B4123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A28826F1-8004-460F-BCD4-72694728D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0D896E6D-BD65-4875-BE73-E3FC985AE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EA9B88-AC1B-4545-B4FC-9D77A40E51E8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915157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8724902" y="365127"/>
            <a:ext cx="2628900" cy="5811839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838202" y="365127"/>
            <a:ext cx="7734300" cy="5811839"/>
          </a:xfrm>
        </p:spPr>
        <p:txBody>
          <a:bodyPr vert="eaVert"/>
          <a:lstStyle/>
          <a:p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136B180E-6EAB-42EC-AF98-0AD12B0EF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A4D884D-F473-4EA0-8FCA-14F39300A0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39B63F4E-38B5-458D-A288-189455F65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EDF881-6C07-4DD8-B352-40E769B8467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50235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5">
            <a:extLst>
              <a:ext uri="{FF2B5EF4-FFF2-40B4-BE49-F238E27FC236}">
                <a16:creationId xmlns:a16="http://schemas.microsoft.com/office/drawing/2014/main" id="{E68A40FD-C385-4215-A912-581BEB18FA34}"/>
              </a:ext>
            </a:extLst>
          </p:cNvPr>
          <p:cNvSpPr txBox="1">
            <a:spLocks/>
          </p:cNvSpPr>
          <p:nvPr/>
        </p:nvSpPr>
        <p:spPr>
          <a:xfrm>
            <a:off x="-103717" y="6326718"/>
            <a:ext cx="643468" cy="438149"/>
          </a:xfrm>
          <a:prstGeom prst="rect">
            <a:avLst/>
          </a:prstGeom>
        </p:spPr>
        <p:txBody>
          <a:bodyPr lIns="91440" tIns="45720" rIns="91440" bIns="45720" anchor="ctr"/>
          <a:lstStyle>
            <a:defPPr>
              <a:defRPr lang="zh-TW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FA58A55-F964-4F4D-9F47-317DE1C63B15}" type="slidenum">
              <a:rPr kumimoji="1" lang="zh-TW" altLang="en-US" sz="1200" b="1" smtClean="0">
                <a:solidFill>
                  <a:srgbClr val="333F50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1" lang="zh-TW" altLang="en-US" sz="1200" b="1" dirty="0">
              <a:solidFill>
                <a:srgbClr val="333F50"/>
              </a:solidFill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92F150C4-EBB4-4CCE-9023-7194E9E6A2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2533" y="0"/>
            <a:ext cx="2929467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圖片 8" descr="TASS LOGO-full color-logo.jpg">
            <a:extLst>
              <a:ext uri="{FF2B5EF4-FFF2-40B4-BE49-F238E27FC236}">
                <a16:creationId xmlns:a16="http://schemas.microsoft.com/office/drawing/2014/main" id="{78A15BAB-68E2-4AA0-90FF-609D4A25DD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3284" y="6115051"/>
            <a:ext cx="1835149" cy="651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文字方塊 9">
            <a:extLst>
              <a:ext uri="{FF2B5EF4-FFF2-40B4-BE49-F238E27FC236}">
                <a16:creationId xmlns:a16="http://schemas.microsoft.com/office/drawing/2014/main" id="{0291AAA8-1D63-42DB-868C-779E989B68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350000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r>
              <a:rPr lang="en-US" altLang="zh-TW" sz="1600">
                <a:solidFill>
                  <a:srgbClr val="808080"/>
                </a:solidFill>
                <a:latin typeface="Calibri" panose="020F0502020204030204" pitchFamily="34" charset="0"/>
                <a:ea typeface="新細明體" panose="02020500000000000000" pitchFamily="18" charset="-120"/>
              </a:rPr>
              <a:t>ASE Public / Security-D</a:t>
            </a:r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cxnSp>
        <p:nvCxnSpPr>
          <p:cNvPr id="8" name="直線接點 7">
            <a:extLst>
              <a:ext uri="{FF2B5EF4-FFF2-40B4-BE49-F238E27FC236}">
                <a16:creationId xmlns:a16="http://schemas.microsoft.com/office/drawing/2014/main" id="{592FD2E0-EEB4-4B32-A757-081AE0150109}"/>
              </a:ext>
            </a:extLst>
          </p:cNvPr>
          <p:cNvCxnSpPr/>
          <p:nvPr userDrawn="1"/>
        </p:nvCxnSpPr>
        <p:spPr>
          <a:xfrm>
            <a:off x="609600" y="1115484"/>
            <a:ext cx="10972800" cy="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直線接點 8">
            <a:extLst>
              <a:ext uri="{FF2B5EF4-FFF2-40B4-BE49-F238E27FC236}">
                <a16:creationId xmlns:a16="http://schemas.microsoft.com/office/drawing/2014/main" id="{4F57560E-03D2-4148-A9E4-37AE6C6A318A}"/>
              </a:ext>
            </a:extLst>
          </p:cNvPr>
          <p:cNvCxnSpPr/>
          <p:nvPr userDrawn="1"/>
        </p:nvCxnSpPr>
        <p:spPr>
          <a:xfrm flipV="1">
            <a:off x="817033" y="6350001"/>
            <a:ext cx="9366251" cy="6351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標題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900336"/>
          </a:xfrm>
        </p:spPr>
        <p:txBody>
          <a:bodyPr/>
          <a:lstStyle/>
          <a:p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15" name="內容版面配置區 7"/>
          <p:cNvSpPr>
            <a:spLocks noGrp="1"/>
          </p:cNvSpPr>
          <p:nvPr>
            <p:ph sz="quarter" idx="1"/>
          </p:nvPr>
        </p:nvSpPr>
        <p:spPr>
          <a:xfrm>
            <a:off x="609600" y="1196752"/>
            <a:ext cx="10972800" cy="4960208"/>
          </a:xfrm>
        </p:spPr>
        <p:txBody>
          <a:bodyPr/>
          <a:lstStyle/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  <a:endParaRPr lang="en-US" dirty="0"/>
          </a:p>
        </p:txBody>
      </p:sp>
      <p:sp>
        <p:nvSpPr>
          <p:cNvPr id="10" name="投影片編號版面配置區 5">
            <a:extLst>
              <a:ext uri="{FF2B5EF4-FFF2-40B4-BE49-F238E27FC236}">
                <a16:creationId xmlns:a16="http://schemas.microsoft.com/office/drawing/2014/main" id="{50688034-8D2A-480C-B8AE-88CB04C8E8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17033" y="6356351"/>
            <a:ext cx="2641600" cy="366183"/>
          </a:xfrm>
        </p:spPr>
        <p:txBody>
          <a:bodyPr/>
          <a:lstStyle>
            <a:lvl1pPr algn="l">
              <a:defRPr kumimoji="0" sz="1867" smtClean="0">
                <a:solidFill>
                  <a:srgbClr val="464653"/>
                </a:solidFill>
                <a:latin typeface="微軟正黑體"/>
                <a:ea typeface="微軟正黑體"/>
                <a:cs typeface="微軟正黑體"/>
              </a:defRPr>
            </a:lvl1pPr>
          </a:lstStyle>
          <a:p>
            <a:pPr>
              <a:defRPr/>
            </a:pPr>
            <a:fld id="{4C3A4B00-DD30-4FE4-8186-1EF183272F81}" type="datetime1">
              <a:rPr lang="zh-TW" altLang="en-US"/>
              <a:pPr>
                <a:defRPr/>
              </a:pPr>
              <a:t>2022/12/5</a:t>
            </a:fld>
            <a:endParaRPr lang="zh-TW" altLang="en-US" dirty="0"/>
          </a:p>
        </p:txBody>
      </p:sp>
      <p:sp>
        <p:nvSpPr>
          <p:cNvPr id="11" name="頁尾版面配置區 4">
            <a:extLst>
              <a:ext uri="{FF2B5EF4-FFF2-40B4-BE49-F238E27FC236}">
                <a16:creationId xmlns:a16="http://schemas.microsoft.com/office/drawing/2014/main" id="{A9864B1C-0326-439C-9561-CE0524AE0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65033" y="6356351"/>
            <a:ext cx="4673600" cy="366183"/>
          </a:xfrm>
        </p:spPr>
        <p:txBody>
          <a:bodyPr/>
          <a:lstStyle>
            <a:lvl1pPr algn="ctr">
              <a:defRPr kumimoji="0" sz="1867" b="1" dirty="0">
                <a:solidFill>
                  <a:srgbClr val="464653"/>
                </a:solidFill>
                <a:latin typeface="微軟正黑體"/>
                <a:ea typeface="微軟正黑體"/>
                <a:cs typeface="微軟正黑體"/>
              </a:defRPr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22507823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1">
            <a:extLst>
              <a:ext uri="{FF2B5EF4-FFF2-40B4-BE49-F238E27FC236}">
                <a16:creationId xmlns:a16="http://schemas.microsoft.com/office/drawing/2014/main" id="{AB7FF955-54D3-4A2E-A0E8-1A6E241F82B7}"/>
              </a:ext>
            </a:extLst>
          </p:cNvPr>
          <p:cNvSpPr txBox="1">
            <a:spLocks/>
          </p:cNvSpPr>
          <p:nvPr userDrawn="1"/>
        </p:nvSpPr>
        <p:spPr>
          <a:xfrm>
            <a:off x="624418" y="116418"/>
            <a:ext cx="6432549" cy="359833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defTabSz="1219140" eaLnBrk="1" fontAlgn="auto" hangingPunct="1">
              <a:spcAft>
                <a:spcPts val="0"/>
              </a:spcAft>
              <a:defRPr/>
            </a:pPr>
            <a:endParaRPr lang="zh-TW" altLang="en-US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文字方塊 7">
            <a:extLst>
              <a:ext uri="{FF2B5EF4-FFF2-40B4-BE49-F238E27FC236}">
                <a16:creationId xmlns:a16="http://schemas.microsoft.com/office/drawing/2014/main" id="{69244395-6428-4B58-805A-9DE1D183BA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6" name="文字方塊 8">
            <a:extLst>
              <a:ext uri="{FF2B5EF4-FFF2-40B4-BE49-F238E27FC236}">
                <a16:creationId xmlns:a16="http://schemas.microsoft.com/office/drawing/2014/main" id="{9EB87105-02B4-4C9E-84A6-64CE715057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0A42A97F-576C-42E4-A324-4425563EBB62}"/>
              </a:ext>
            </a:extLst>
          </p:cNvPr>
          <p:cNvSpPr/>
          <p:nvPr userDrawn="1"/>
        </p:nvSpPr>
        <p:spPr>
          <a:xfrm>
            <a:off x="11203518" y="6199718"/>
            <a:ext cx="893233" cy="69638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/>
          </a:p>
        </p:txBody>
      </p:sp>
      <p:pic>
        <p:nvPicPr>
          <p:cNvPr id="8" name="圖片 10" descr="20190309_CGE_logo修改.png">
            <a:extLst>
              <a:ext uri="{FF2B5EF4-FFF2-40B4-BE49-F238E27FC236}">
                <a16:creationId xmlns:a16="http://schemas.microsoft.com/office/drawing/2014/main" id="{43B5BC5D-D613-424B-B16D-BB41687952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1076517" y="6400800"/>
            <a:ext cx="1115483" cy="29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66075" y="639963"/>
            <a:ext cx="10972800" cy="796951"/>
          </a:xfrm>
        </p:spPr>
        <p:txBody>
          <a:bodyPr>
            <a:normAutofit/>
          </a:bodyPr>
          <a:lstStyle>
            <a:lvl1pPr algn="ctr">
              <a:defRPr sz="3733" b="1">
                <a:solidFill>
                  <a:srgbClr val="000080"/>
                </a:solidFill>
                <a:latin typeface="Times New Roman"/>
                <a:ea typeface="標楷體"/>
                <a:cs typeface="BiauKai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Times New Roman"/>
                <a:ea typeface="標楷體"/>
              </a:defRPr>
            </a:lvl1pPr>
            <a:lvl2pPr>
              <a:defRPr sz="2400">
                <a:latin typeface="Times New Roman"/>
                <a:ea typeface="標楷體"/>
              </a:defRPr>
            </a:lvl2pPr>
            <a:lvl3pPr>
              <a:defRPr sz="2400">
                <a:latin typeface="Times New Roman"/>
                <a:ea typeface="標楷體"/>
              </a:defRPr>
            </a:lvl3pPr>
            <a:lvl4pPr>
              <a:defRPr sz="2400">
                <a:latin typeface="Times New Roman"/>
                <a:ea typeface="標楷體"/>
              </a:defRPr>
            </a:lvl4pPr>
            <a:lvl5pPr>
              <a:defRPr sz="2400">
                <a:latin typeface="Times New Roman"/>
                <a:ea typeface="標楷體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9" name="投影片編號版面配置區 5">
            <a:extLst>
              <a:ext uri="{FF2B5EF4-FFF2-40B4-BE49-F238E27FC236}">
                <a16:creationId xmlns:a16="http://schemas.microsoft.com/office/drawing/2014/main" id="{EC8BE8B0-9604-403B-B3B9-AB9CCFBF58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" y="6424084"/>
            <a:ext cx="624417" cy="364067"/>
          </a:xfrm>
        </p:spPr>
        <p:txBody>
          <a:bodyPr/>
          <a:lstStyle>
            <a:lvl1pPr algn="l">
              <a:defRPr kumimoji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A2CEE38-04B6-4F21-8273-6CB6D81DF85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37915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1">
            <a:extLst>
              <a:ext uri="{FF2B5EF4-FFF2-40B4-BE49-F238E27FC236}">
                <a16:creationId xmlns:a16="http://schemas.microsoft.com/office/drawing/2014/main" id="{FF50BD49-7FEC-4D49-B752-4B2EA354EB65}"/>
              </a:ext>
            </a:extLst>
          </p:cNvPr>
          <p:cNvSpPr txBox="1">
            <a:spLocks/>
          </p:cNvSpPr>
          <p:nvPr userDrawn="1"/>
        </p:nvSpPr>
        <p:spPr>
          <a:xfrm>
            <a:off x="624418" y="116418"/>
            <a:ext cx="6432549" cy="359833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defTabSz="1219140" eaLnBrk="1" fontAlgn="auto" hangingPunct="1">
              <a:spcAft>
                <a:spcPts val="0"/>
              </a:spcAft>
              <a:defRPr/>
            </a:pPr>
            <a:endParaRPr lang="zh-TW" altLang="en-US" sz="160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文字方塊 7">
            <a:extLst>
              <a:ext uri="{FF2B5EF4-FFF2-40B4-BE49-F238E27FC236}">
                <a16:creationId xmlns:a16="http://schemas.microsoft.com/office/drawing/2014/main" id="{25914613-B943-473F-8809-C263B681FF4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6" name="文字方塊 8">
            <a:extLst>
              <a:ext uri="{FF2B5EF4-FFF2-40B4-BE49-F238E27FC236}">
                <a16:creationId xmlns:a16="http://schemas.microsoft.com/office/drawing/2014/main" id="{387CE5C4-4783-45A2-93C8-F873603944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59C5190D-457E-4727-8B33-47F52924F748}"/>
              </a:ext>
            </a:extLst>
          </p:cNvPr>
          <p:cNvSpPr/>
          <p:nvPr userDrawn="1"/>
        </p:nvSpPr>
        <p:spPr>
          <a:xfrm>
            <a:off x="177800" y="97367"/>
            <a:ext cx="891117" cy="696384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/>
          </a:p>
        </p:txBody>
      </p:sp>
      <p:pic>
        <p:nvPicPr>
          <p:cNvPr id="8" name="圖片 10" descr="20190309_CGE_logo修改.png">
            <a:extLst>
              <a:ext uri="{FF2B5EF4-FFF2-40B4-BE49-F238E27FC236}">
                <a16:creationId xmlns:a16="http://schemas.microsoft.com/office/drawing/2014/main" id="{3416FA2D-6FA0-4344-8D3C-21CC4D771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50801" y="298452"/>
            <a:ext cx="1115484" cy="298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66075" y="639963"/>
            <a:ext cx="10972800" cy="796951"/>
          </a:xfrm>
        </p:spPr>
        <p:txBody>
          <a:bodyPr>
            <a:normAutofit/>
          </a:bodyPr>
          <a:lstStyle>
            <a:lvl1pPr algn="ctr">
              <a:defRPr sz="3733" b="1">
                <a:solidFill>
                  <a:srgbClr val="000080"/>
                </a:solidFill>
                <a:latin typeface="Times New Roman"/>
                <a:ea typeface="標楷體"/>
                <a:cs typeface="BiauKai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Times New Roman"/>
                <a:ea typeface="標楷體"/>
              </a:defRPr>
            </a:lvl1pPr>
            <a:lvl2pPr>
              <a:defRPr sz="2400">
                <a:latin typeface="Times New Roman"/>
                <a:ea typeface="標楷體"/>
              </a:defRPr>
            </a:lvl2pPr>
            <a:lvl3pPr>
              <a:defRPr sz="2400">
                <a:latin typeface="Times New Roman"/>
                <a:ea typeface="標楷體"/>
              </a:defRPr>
            </a:lvl3pPr>
            <a:lvl4pPr>
              <a:defRPr sz="2400">
                <a:latin typeface="Times New Roman"/>
                <a:ea typeface="標楷體"/>
              </a:defRPr>
            </a:lvl4pPr>
            <a:lvl5pPr>
              <a:defRPr sz="2400">
                <a:latin typeface="Times New Roman"/>
                <a:ea typeface="標楷體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9" name="投影片編號版面配置區 5">
            <a:extLst>
              <a:ext uri="{FF2B5EF4-FFF2-40B4-BE49-F238E27FC236}">
                <a16:creationId xmlns:a16="http://schemas.microsoft.com/office/drawing/2014/main" id="{522EDB63-736D-4502-808E-FC0B511B95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914467" y="6383867"/>
            <a:ext cx="2159000" cy="364067"/>
          </a:xfrm>
        </p:spPr>
        <p:txBody>
          <a:bodyPr/>
          <a:lstStyle>
            <a:lvl1pPr>
              <a:defRPr kumimoji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1A239B2-B0BE-4865-8487-353A8C97E601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695705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6">
            <a:extLst>
              <a:ext uri="{FF2B5EF4-FFF2-40B4-BE49-F238E27FC236}">
                <a16:creationId xmlns:a16="http://schemas.microsoft.com/office/drawing/2014/main" id="{698A6E46-2BC8-455B-BEF5-863758B987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4" name="文字方塊 7">
            <a:extLst>
              <a:ext uri="{FF2B5EF4-FFF2-40B4-BE49-F238E27FC236}">
                <a16:creationId xmlns:a16="http://schemas.microsoft.com/office/drawing/2014/main" id="{E3037B47-647B-4374-93D6-F584F6AD24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55617" y="6083300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345B31E6-0D0A-4F58-8F4F-CB1FF4EB2F01}"/>
              </a:ext>
            </a:extLst>
          </p:cNvPr>
          <p:cNvSpPr/>
          <p:nvPr userDrawn="1"/>
        </p:nvSpPr>
        <p:spPr>
          <a:xfrm>
            <a:off x="11203518" y="6199718"/>
            <a:ext cx="893233" cy="69638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/>
          </a:p>
        </p:txBody>
      </p:sp>
      <p:pic>
        <p:nvPicPr>
          <p:cNvPr id="6" name="圖片 9" descr="20190309_CGE_logo修改.png">
            <a:extLst>
              <a:ext uri="{FF2B5EF4-FFF2-40B4-BE49-F238E27FC236}">
                <a16:creationId xmlns:a16="http://schemas.microsoft.com/office/drawing/2014/main" id="{F11BBEA9-932D-4DC0-9E9C-DC0F4A6D9A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1076517" y="6400800"/>
            <a:ext cx="1115483" cy="29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007435" y="2708922"/>
            <a:ext cx="10363200" cy="1470025"/>
          </a:xfrm>
        </p:spPr>
        <p:txBody>
          <a:bodyPr>
            <a:normAutofit/>
          </a:bodyPr>
          <a:lstStyle>
            <a:lvl1pPr algn="ctr">
              <a:defRPr sz="3200" b="1">
                <a:solidFill>
                  <a:srgbClr val="000080"/>
                </a:solidFill>
                <a:latin typeface="Times New Roman"/>
                <a:ea typeface="標楷體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頁尾版面配置區 4">
            <a:extLst>
              <a:ext uri="{FF2B5EF4-FFF2-40B4-BE49-F238E27FC236}">
                <a16:creationId xmlns:a16="http://schemas.microsoft.com/office/drawing/2014/main" id="{A46125E8-FA40-49B9-8BDD-107BC7D86D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投影片編號版面配置區 5">
            <a:extLst>
              <a:ext uri="{FF2B5EF4-FFF2-40B4-BE49-F238E27FC236}">
                <a16:creationId xmlns:a16="http://schemas.microsoft.com/office/drawing/2014/main" id="{7AA0031A-1D69-4684-8911-6692FB6C4A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373785" y="6449485"/>
            <a:ext cx="1773767" cy="366183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C04484C3-A492-4928-BEB5-C181BFBE75B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8693778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ogo使用標準（其他顏色底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F991CA9-4364-47EF-A4C3-7752918F1005}"/>
              </a:ext>
            </a:extLst>
          </p:cNvPr>
          <p:cNvSpPr/>
          <p:nvPr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/>
          </a:p>
        </p:txBody>
      </p:sp>
      <p:pic>
        <p:nvPicPr>
          <p:cNvPr id="3" name="圖片 7">
            <a:extLst>
              <a:ext uri="{FF2B5EF4-FFF2-40B4-BE49-F238E27FC236}">
                <a16:creationId xmlns:a16="http://schemas.microsoft.com/office/drawing/2014/main" id="{76B63FAF-2527-42A2-9AE4-78C2F83CDE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1" y="5877985"/>
            <a:ext cx="4059767" cy="80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圖片 8">
            <a:extLst>
              <a:ext uri="{FF2B5EF4-FFF2-40B4-BE49-F238E27FC236}">
                <a16:creationId xmlns:a16="http://schemas.microsoft.com/office/drawing/2014/main" id="{D56471D5-FB29-4966-AB73-4F5C8249B1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201" y="5384801"/>
            <a:ext cx="3088217" cy="31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圖片 9">
            <a:extLst>
              <a:ext uri="{FF2B5EF4-FFF2-40B4-BE49-F238E27FC236}">
                <a16:creationId xmlns:a16="http://schemas.microsoft.com/office/drawing/2014/main" id="{26A0FE70-FB0A-4505-88BB-841D2AF988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1134" y="5947834"/>
            <a:ext cx="2785533" cy="82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73BF60C1-E426-421F-99F0-4E0EE4217026}"/>
              </a:ext>
            </a:extLst>
          </p:cNvPr>
          <p:cNvSpPr/>
          <p:nvPr userDrawn="1"/>
        </p:nvSpPr>
        <p:spPr>
          <a:xfrm>
            <a:off x="0" y="825501"/>
            <a:ext cx="12192000" cy="60325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/>
          </a:p>
        </p:txBody>
      </p:sp>
      <p:sp>
        <p:nvSpPr>
          <p:cNvPr id="7" name="文字方塊 11">
            <a:extLst>
              <a:ext uri="{FF2B5EF4-FFF2-40B4-BE49-F238E27FC236}">
                <a16:creationId xmlns:a16="http://schemas.microsoft.com/office/drawing/2014/main" id="{7EC1652E-8E95-499B-AD54-D31D2B4970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4118" y="1989667"/>
            <a:ext cx="582723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91440" bIns="4572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r>
              <a:rPr lang="zh-TW" altLang="en-US" sz="4400" b="1">
                <a:solidFill>
                  <a:srgbClr val="000000"/>
                </a:solidFill>
                <a:latin typeface="微軟正黑體" panose="020B0604030504040204" pitchFamily="34" charset="-120"/>
              </a:rPr>
              <a:t>簡報結束        敬請指教</a:t>
            </a:r>
          </a:p>
        </p:txBody>
      </p:sp>
      <p:pic>
        <p:nvPicPr>
          <p:cNvPr id="8" name="圖片 12" descr="20190309_CGE_logo修改.png">
            <a:extLst>
              <a:ext uri="{FF2B5EF4-FFF2-40B4-BE49-F238E27FC236}">
                <a16:creationId xmlns:a16="http://schemas.microsoft.com/office/drawing/2014/main" id="{07D34390-7C62-4FD9-A8F0-A6A2ADF494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00"/>
          <a:stretch>
            <a:fillRect/>
          </a:stretch>
        </p:blipFill>
        <p:spPr bwMode="auto">
          <a:xfrm>
            <a:off x="4595284" y="3124200"/>
            <a:ext cx="3062816" cy="281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59702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TW"/>
              <a:t>Click to edit Master text styles</a:t>
            </a:r>
          </a:p>
          <a:p>
            <a:pPr lvl="1"/>
            <a:r>
              <a:rPr lang="en-US" altLang="zh-TW"/>
              <a:t>Second level</a:t>
            </a:r>
          </a:p>
          <a:p>
            <a:pPr lvl="2"/>
            <a:r>
              <a:rPr lang="en-US" altLang="zh-TW"/>
              <a:t>Third level</a:t>
            </a:r>
          </a:p>
          <a:p>
            <a:pPr lvl="3"/>
            <a:r>
              <a:rPr lang="en-US" altLang="zh-TW"/>
              <a:t>Fourth level</a:t>
            </a:r>
          </a:p>
          <a:p>
            <a:pPr lvl="4"/>
            <a:r>
              <a:rPr lang="en-US" altLang="zh-TW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503125-6884-4152-BC6D-8F517DCE9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kumimoji="0"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69A12B-EF43-48E9-A87A-36E0A08B7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kumimoji="0" dirty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58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流程圖: 資料 1">
            <a:extLst>
              <a:ext uri="{FF2B5EF4-FFF2-40B4-BE49-F238E27FC236}">
                <a16:creationId xmlns:a16="http://schemas.microsoft.com/office/drawing/2014/main" id="{473D761E-9415-4EFE-8ECD-C8D614C4AC02}"/>
              </a:ext>
            </a:extLst>
          </p:cNvPr>
          <p:cNvSpPr/>
          <p:nvPr userDrawn="1"/>
        </p:nvSpPr>
        <p:spPr>
          <a:xfrm>
            <a:off x="5211194" y="1743858"/>
            <a:ext cx="1638925" cy="2048655"/>
          </a:xfrm>
          <a:prstGeom prst="flowChartInputOutput">
            <a:avLst/>
          </a:prstGeom>
          <a:solidFill>
            <a:srgbClr val="00909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ts val="3067"/>
              </a:lnSpc>
            </a:pPr>
            <a:endParaRPr lang="zh-TW" altLang="en-US" sz="1867" dirty="0">
              <a:solidFill>
                <a:schemeClr val="tx1"/>
              </a:solidFill>
            </a:endParaRPr>
          </a:p>
        </p:txBody>
      </p:sp>
      <p:sp>
        <p:nvSpPr>
          <p:cNvPr id="3" name="流程圖: 資料 2">
            <a:extLst>
              <a:ext uri="{FF2B5EF4-FFF2-40B4-BE49-F238E27FC236}">
                <a16:creationId xmlns:a16="http://schemas.microsoft.com/office/drawing/2014/main" id="{2D44EF41-1E91-4E44-8887-0B930E833143}"/>
              </a:ext>
            </a:extLst>
          </p:cNvPr>
          <p:cNvSpPr/>
          <p:nvPr userDrawn="1"/>
        </p:nvSpPr>
        <p:spPr>
          <a:xfrm>
            <a:off x="6683560" y="1743857"/>
            <a:ext cx="1636800" cy="2048655"/>
          </a:xfrm>
          <a:prstGeom prst="flowChartInputOutput">
            <a:avLst/>
          </a:prstGeom>
          <a:solidFill>
            <a:srgbClr val="27496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ts val="3067"/>
              </a:lnSpc>
            </a:pPr>
            <a:endParaRPr lang="zh-TW" altLang="en-US" sz="1867" dirty="0">
              <a:solidFill>
                <a:schemeClr val="tx1"/>
              </a:solidFill>
            </a:endParaRPr>
          </a:p>
        </p:txBody>
      </p:sp>
      <p:sp>
        <p:nvSpPr>
          <p:cNvPr id="4" name="流程圖: 資料 3">
            <a:extLst>
              <a:ext uri="{FF2B5EF4-FFF2-40B4-BE49-F238E27FC236}">
                <a16:creationId xmlns:a16="http://schemas.microsoft.com/office/drawing/2014/main" id="{60F23CD4-E8D0-4AAA-9756-D723437E2C64}"/>
              </a:ext>
            </a:extLst>
          </p:cNvPr>
          <p:cNvSpPr/>
          <p:nvPr userDrawn="1"/>
        </p:nvSpPr>
        <p:spPr>
          <a:xfrm>
            <a:off x="8155927" y="1743855"/>
            <a:ext cx="1636800" cy="2048655"/>
          </a:xfrm>
          <a:prstGeom prst="flowChartInputOutpu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ts val="3067"/>
              </a:lnSpc>
            </a:pPr>
            <a:endParaRPr lang="zh-TW" altLang="en-US" sz="1867" dirty="0">
              <a:solidFill>
                <a:schemeClr val="tx1"/>
              </a:solidFill>
            </a:endParaRP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1224BD88-AABC-49F1-A9F7-B5874F7BDC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49784" y="5463861"/>
            <a:ext cx="1200000" cy="1200000"/>
          </a:xfrm>
          <a:prstGeom prst="rect">
            <a:avLst/>
          </a:prstGeom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4E26AEF6-FAFB-4144-B52C-EEC70DDF58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762936" y="5463861"/>
            <a:ext cx="1200000" cy="12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435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91926771-09FE-4690-BA7D-41D5CAFC04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7">
            <a:extLst>
              <a:ext uri="{FF2B5EF4-FFF2-40B4-BE49-F238E27FC236}">
                <a16:creationId xmlns:a16="http://schemas.microsoft.com/office/drawing/2014/main" id="{FE4AB522-15F9-4E71-9B16-7BA3F658611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350000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r>
              <a:rPr lang="en-US" altLang="zh-TW" sz="1600">
                <a:solidFill>
                  <a:srgbClr val="808080"/>
                </a:solidFill>
                <a:latin typeface="Calibri" panose="020F0502020204030204" pitchFamily="34" charset="0"/>
                <a:ea typeface="新細明體" panose="02020500000000000000" pitchFamily="18" charset="-120"/>
              </a:rPr>
              <a:t>ASE Public / Security-D</a:t>
            </a:r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843869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風格一 內頁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橢圓 3">
            <a:extLst>
              <a:ext uri="{FF2B5EF4-FFF2-40B4-BE49-F238E27FC236}">
                <a16:creationId xmlns:a16="http://schemas.microsoft.com/office/drawing/2014/main" id="{7B8838A4-4596-46B4-BF6C-A18279631B79}"/>
              </a:ext>
            </a:extLst>
          </p:cNvPr>
          <p:cNvSpPr/>
          <p:nvPr userDrawn="1"/>
        </p:nvSpPr>
        <p:spPr>
          <a:xfrm>
            <a:off x="10056285" y="5535085"/>
            <a:ext cx="1849967" cy="1365249"/>
          </a:xfrm>
          <a:prstGeom prst="ellipse">
            <a:avLst/>
          </a:prstGeom>
          <a:noFill/>
          <a:ln>
            <a:solidFill>
              <a:srgbClr val="429EA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67" dirty="0"/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3AF093CE-611D-4D75-8328-7B602C0DB671}"/>
              </a:ext>
            </a:extLst>
          </p:cNvPr>
          <p:cNvSpPr/>
          <p:nvPr/>
        </p:nvSpPr>
        <p:spPr>
          <a:xfrm>
            <a:off x="143934" y="6057901"/>
            <a:ext cx="791633" cy="624417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67" dirty="0"/>
          </a:p>
        </p:txBody>
      </p:sp>
      <p:cxnSp>
        <p:nvCxnSpPr>
          <p:cNvPr id="6" name="直線接點 5">
            <a:extLst>
              <a:ext uri="{FF2B5EF4-FFF2-40B4-BE49-F238E27FC236}">
                <a16:creationId xmlns:a16="http://schemas.microsoft.com/office/drawing/2014/main" id="{FF942FAC-FA37-41D6-B95B-01012DBCED00}"/>
              </a:ext>
            </a:extLst>
          </p:cNvPr>
          <p:cNvCxnSpPr/>
          <p:nvPr/>
        </p:nvCxnSpPr>
        <p:spPr>
          <a:xfrm>
            <a:off x="10584" y="6371167"/>
            <a:ext cx="12181416" cy="19051"/>
          </a:xfrm>
          <a:prstGeom prst="line">
            <a:avLst/>
          </a:prstGeom>
          <a:noFill/>
          <a:ln>
            <a:solidFill>
              <a:srgbClr val="429EA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7" name="橢圓 6">
            <a:extLst>
              <a:ext uri="{FF2B5EF4-FFF2-40B4-BE49-F238E27FC236}">
                <a16:creationId xmlns:a16="http://schemas.microsoft.com/office/drawing/2014/main" id="{E38E9A34-9DF0-4C5F-900B-178BBB495C5D}"/>
              </a:ext>
            </a:extLst>
          </p:cNvPr>
          <p:cNvSpPr/>
          <p:nvPr/>
        </p:nvSpPr>
        <p:spPr>
          <a:xfrm>
            <a:off x="647700" y="5822951"/>
            <a:ext cx="1253067" cy="986367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67" dirty="0"/>
          </a:p>
        </p:txBody>
      </p:sp>
      <p:sp>
        <p:nvSpPr>
          <p:cNvPr id="8" name="橢圓 7">
            <a:extLst>
              <a:ext uri="{FF2B5EF4-FFF2-40B4-BE49-F238E27FC236}">
                <a16:creationId xmlns:a16="http://schemas.microsoft.com/office/drawing/2014/main" id="{764A99E5-B700-4020-B68C-75BA9807D44D}"/>
              </a:ext>
            </a:extLst>
          </p:cNvPr>
          <p:cNvSpPr/>
          <p:nvPr/>
        </p:nvSpPr>
        <p:spPr>
          <a:xfrm>
            <a:off x="218017" y="6117167"/>
            <a:ext cx="643467" cy="505884"/>
          </a:xfrm>
          <a:prstGeom prst="ellipse">
            <a:avLst/>
          </a:prstGeom>
          <a:solidFill>
            <a:srgbClr val="389CBB"/>
          </a:solidFill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67" dirty="0"/>
          </a:p>
        </p:txBody>
      </p:sp>
      <p:sp>
        <p:nvSpPr>
          <p:cNvPr id="9" name="拱形 8">
            <a:extLst>
              <a:ext uri="{FF2B5EF4-FFF2-40B4-BE49-F238E27FC236}">
                <a16:creationId xmlns:a16="http://schemas.microsoft.com/office/drawing/2014/main" id="{D2CEBF05-0F4E-4575-872E-81FBFD4F44B6}"/>
              </a:ext>
            </a:extLst>
          </p:cNvPr>
          <p:cNvSpPr/>
          <p:nvPr userDrawn="1"/>
        </p:nvSpPr>
        <p:spPr>
          <a:xfrm rot="16200000">
            <a:off x="11114617" y="5503334"/>
            <a:ext cx="1761067" cy="2125133"/>
          </a:xfrm>
          <a:prstGeom prst="blockArc">
            <a:avLst>
              <a:gd name="adj1" fmla="val 10800000"/>
              <a:gd name="adj2" fmla="val 1526457"/>
              <a:gd name="adj3" fmla="val 0"/>
            </a:avLst>
          </a:prstGeom>
          <a:noFill/>
          <a:ln>
            <a:solidFill>
              <a:srgbClr val="429EA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67"/>
          </a:p>
        </p:txBody>
      </p:sp>
      <p:sp>
        <p:nvSpPr>
          <p:cNvPr id="22" name="標題 1"/>
          <p:cNvSpPr>
            <a:spLocks noGrp="1"/>
          </p:cNvSpPr>
          <p:nvPr>
            <p:ph type="title"/>
          </p:nvPr>
        </p:nvSpPr>
        <p:spPr>
          <a:xfrm>
            <a:off x="2239931" y="278389"/>
            <a:ext cx="7683796" cy="852487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>
                <a:solidFill>
                  <a:srgbClr val="0000FF"/>
                </a:solidFill>
                <a:latin typeface="+mj-ea"/>
                <a:ea typeface="+mj-ea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26" name="內容版面配置區 2"/>
          <p:cNvSpPr>
            <a:spLocks noGrp="1"/>
          </p:cNvSpPr>
          <p:nvPr>
            <p:ph idx="1"/>
          </p:nvPr>
        </p:nvSpPr>
        <p:spPr>
          <a:xfrm>
            <a:off x="1042786" y="1403506"/>
            <a:ext cx="10114316" cy="490579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Wingdings" pitchFamily="2" charset="2"/>
              <a:buChar char="Ø"/>
              <a:tabLst>
                <a:tab pos="352401" algn="l"/>
              </a:tabLst>
              <a:defRPr sz="2000">
                <a:solidFill>
                  <a:schemeClr val="tx1"/>
                </a:solidFill>
                <a:latin typeface="+mj-ea"/>
                <a:ea typeface="+mj-ea"/>
              </a:defRPr>
            </a:lvl1pPr>
            <a:lvl2pPr marL="914332" indent="-457167">
              <a:buFont typeface="+mj-lt"/>
              <a:buAutoNum type="arabicPeriod"/>
              <a:tabLst>
                <a:tab pos="352401" algn="l"/>
              </a:tabLst>
              <a:defRPr sz="2000">
                <a:solidFill>
                  <a:schemeClr val="tx1"/>
                </a:solidFill>
                <a:latin typeface="+mj-ea"/>
                <a:ea typeface="+mj-ea"/>
              </a:defRPr>
            </a:lvl2pPr>
            <a:lvl3pPr marL="1371498" indent="-457167">
              <a:buFont typeface="+mj-lt"/>
              <a:buAutoNum type="alphaLcPeriod"/>
              <a:tabLst>
                <a:tab pos="352401" algn="l"/>
              </a:tabLst>
              <a:defRPr sz="2000">
                <a:solidFill>
                  <a:schemeClr val="tx1"/>
                </a:solidFill>
                <a:latin typeface="+mj-ea"/>
                <a:ea typeface="+mj-ea"/>
              </a:defRPr>
            </a:lvl3pPr>
            <a:lvl4pPr marL="1828664" indent="-457167">
              <a:buFont typeface="Arial" pitchFamily="34" charset="0"/>
              <a:buChar char="•"/>
              <a:tabLst>
                <a:tab pos="352401" algn="l"/>
              </a:tabLst>
              <a:defRPr sz="2000">
                <a:solidFill>
                  <a:schemeClr val="tx1"/>
                </a:solidFill>
                <a:latin typeface="+mj-ea"/>
                <a:ea typeface="+mj-ea"/>
              </a:defRPr>
            </a:lvl4pPr>
            <a:lvl5pPr>
              <a:buFont typeface="Arial" pitchFamily="34" charset="0"/>
              <a:buChar char="•"/>
              <a:tabLst>
                <a:tab pos="352401" algn="l"/>
              </a:tabLst>
              <a:defRPr sz="2000">
                <a:solidFill>
                  <a:schemeClr val="tx1"/>
                </a:solidFill>
                <a:latin typeface="+mj-ea"/>
                <a:ea typeface="+mj-ea"/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</p:txBody>
      </p:sp>
      <p:sp>
        <p:nvSpPr>
          <p:cNvPr id="10" name="投影片編號版面配置區 4">
            <a:extLst>
              <a:ext uri="{FF2B5EF4-FFF2-40B4-BE49-F238E27FC236}">
                <a16:creationId xmlns:a16="http://schemas.microsoft.com/office/drawing/2014/main" id="{A93DEC0C-7E07-4E49-8D50-CE2D16D16C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87867" y="6227233"/>
            <a:ext cx="2844800" cy="476251"/>
          </a:xfrm>
        </p:spPr>
        <p:txBody>
          <a:bodyPr/>
          <a:lstStyle>
            <a:lvl1pPr>
              <a:defRPr kumimoji="0" sz="1200" b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221CD604-55C2-494F-BDF1-EBB786624340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5453439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分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9">
            <a:extLst>
              <a:ext uri="{FF2B5EF4-FFF2-40B4-BE49-F238E27FC236}">
                <a16:creationId xmlns:a16="http://schemas.microsoft.com/office/drawing/2014/main" id="{C3E58903-1F44-4D78-B5E8-85BB91DAB5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5469" y="2708920"/>
            <a:ext cx="9601067" cy="1440160"/>
          </a:xfrm>
          <a:prstGeom prst="roundRect">
            <a:avLst>
              <a:gd name="adj" fmla="val 29167"/>
            </a:avLst>
          </a:prstGeom>
          <a:solidFill>
            <a:srgbClr val="B9D9BB"/>
          </a:solidFill>
          <a:ln w="9525">
            <a:solidFill>
              <a:srgbClr val="77A978"/>
            </a:solidFill>
            <a:round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1500">
              <a:latin typeface="+mn-lt"/>
              <a:ea typeface="+mn-ea"/>
            </a:endParaRPr>
          </a:p>
        </p:txBody>
      </p:sp>
      <p:sp>
        <p:nvSpPr>
          <p:cNvPr id="7" name="文字版面配置區 6"/>
          <p:cNvSpPr>
            <a:spLocks noGrp="1"/>
          </p:cNvSpPr>
          <p:nvPr>
            <p:ph type="body" sz="quarter" idx="10"/>
          </p:nvPr>
        </p:nvSpPr>
        <p:spPr>
          <a:xfrm>
            <a:off x="1583501" y="2852937"/>
            <a:ext cx="9025003" cy="1152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342882" indent="0">
              <a:buNone/>
              <a:defRPr/>
            </a:lvl2pPr>
            <a:lvl5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41">
            <a:extLst>
              <a:ext uri="{FF2B5EF4-FFF2-40B4-BE49-F238E27FC236}">
                <a16:creationId xmlns:a16="http://schemas.microsoft.com/office/drawing/2014/main" id="{5ABA0185-D94D-421F-B858-7C2ACE07BB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64952" y="6481234"/>
            <a:ext cx="527049" cy="376767"/>
          </a:xfrm>
        </p:spPr>
        <p:txBody>
          <a:bodyPr/>
          <a:lstStyle>
            <a:lvl1pPr algn="ctr">
              <a:defRPr kumimoji="0" sz="1200" b="1" smtClean="0">
                <a:cs typeface="Arial" pitchFamily="34" charset="0"/>
              </a:defRPr>
            </a:lvl1pPr>
          </a:lstStyle>
          <a:p>
            <a:pPr>
              <a:defRPr/>
            </a:pPr>
            <a:fld id="{AA661AE6-32E0-4D9A-8B9E-05894A0EDE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12431497"/>
      </p:ext>
    </p:extLst>
  </p:cSld>
  <p:clrMapOvr>
    <a:masterClrMapping/>
  </p:clrMapOvr>
  <p:transition spd="slow">
    <p:cover dir="u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A1C745C1-DDE8-42B7-A099-794B4958FB2D}"/>
              </a:ext>
            </a:extLst>
          </p:cNvPr>
          <p:cNvSpPr/>
          <p:nvPr userDrawn="1"/>
        </p:nvSpPr>
        <p:spPr>
          <a:xfrm>
            <a:off x="0" y="5266267"/>
            <a:ext cx="12192000" cy="1591733"/>
          </a:xfrm>
          <a:prstGeom prst="rect">
            <a:avLst/>
          </a:prstGeom>
          <a:solidFill>
            <a:srgbClr val="FDFD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400" dirty="0">
              <a:solidFill>
                <a:schemeClr val="tx1"/>
              </a:solidFill>
              <a:latin typeface="微軟正黑體"/>
              <a:ea typeface="微軟正黑體"/>
              <a:cs typeface="微軟正黑體"/>
            </a:endParaRPr>
          </a:p>
        </p:txBody>
      </p:sp>
      <p:pic>
        <p:nvPicPr>
          <p:cNvPr id="6" name="圖片 7" descr="20190309_CGE_logo修改.png">
            <a:extLst>
              <a:ext uri="{FF2B5EF4-FFF2-40B4-BE49-F238E27FC236}">
                <a16:creationId xmlns:a16="http://schemas.microsoft.com/office/drawing/2014/main" id="{3A47E8FD-B0D3-4BF9-9279-D53D7032D8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97" t="4861" r="87752" b="-999"/>
          <a:stretch>
            <a:fillRect/>
          </a:stretch>
        </p:blipFill>
        <p:spPr bwMode="auto">
          <a:xfrm>
            <a:off x="9702800" y="5266267"/>
            <a:ext cx="2531533" cy="1591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圖片版面配置區 7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12192000" cy="5266271"/>
          </a:xfrm>
        </p:spPr>
        <p:txBody>
          <a:bodyPr rtlCol="0">
            <a:normAutofit/>
          </a:bodyPr>
          <a:lstStyle>
            <a:lvl1pPr>
              <a:defRPr sz="2000"/>
            </a:lvl1pPr>
          </a:lstStyle>
          <a:p>
            <a:pPr lvl="0"/>
            <a:r>
              <a:rPr lang="zh-TW" altLang="en-US" noProof="0"/>
              <a:t>按一下圖示以新增圖片</a:t>
            </a:r>
            <a:endParaRPr lang="zh-TW" altLang="en-US" noProof="0" dirty="0"/>
          </a:p>
        </p:txBody>
      </p:sp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14400" y="4502683"/>
            <a:ext cx="10363200" cy="763588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375439"/>
                </a:solidFill>
                <a:latin typeface="微軟正黑體"/>
                <a:ea typeface="微軟正黑體"/>
                <a:cs typeface="微軟正黑體"/>
              </a:defRPr>
            </a:lvl1pPr>
          </a:lstStyle>
          <a:p>
            <a:r>
              <a:rPr lang="zh-TW" altLang="en-US"/>
              <a:t>按一下以編輯母片標題樣式</a:t>
            </a:r>
            <a:endParaRPr lang="zh-TW" altLang="en-US" dirty="0"/>
          </a:p>
        </p:txBody>
      </p:sp>
      <p:sp>
        <p:nvSpPr>
          <p:cNvPr id="3" name="子標題 2"/>
          <p:cNvSpPr>
            <a:spLocks noGrp="1"/>
          </p:cNvSpPr>
          <p:nvPr>
            <p:ph type="subTitle" idx="1"/>
          </p:nvPr>
        </p:nvSpPr>
        <p:spPr>
          <a:xfrm>
            <a:off x="914400" y="5378573"/>
            <a:ext cx="6122341" cy="133531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lnSpc>
                <a:spcPct val="130000"/>
              </a:lnSpc>
              <a:buNone/>
              <a:defRPr sz="1800" b="1">
                <a:solidFill>
                  <a:srgbClr val="000000"/>
                </a:solidFill>
                <a:latin typeface="微軟正黑體"/>
                <a:ea typeface="微軟正黑體"/>
                <a:cs typeface="微軟正黑體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240291354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>
            <a:extLst>
              <a:ext uri="{FF2B5EF4-FFF2-40B4-BE49-F238E27FC236}">
                <a16:creationId xmlns:a16="http://schemas.microsoft.com/office/drawing/2014/main" id="{FEB7B271-9539-437D-BB87-C8F3E9C063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頁尾版面配置區 4">
            <a:extLst>
              <a:ext uri="{FF2B5EF4-FFF2-40B4-BE49-F238E27FC236}">
                <a16:creationId xmlns:a16="http://schemas.microsoft.com/office/drawing/2014/main" id="{2FA27F38-AD2E-4148-BC9E-3FDDC955F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5">
            <a:extLst>
              <a:ext uri="{FF2B5EF4-FFF2-40B4-BE49-F238E27FC236}">
                <a16:creationId xmlns:a16="http://schemas.microsoft.com/office/drawing/2014/main" id="{0EAD8743-CBBC-4FC9-BF1D-19F1AB320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6183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BF3CF30C-29FF-4CAE-823A-34618C87B56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575818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風格（一）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橢圓 2">
            <a:extLst>
              <a:ext uri="{FF2B5EF4-FFF2-40B4-BE49-F238E27FC236}">
                <a16:creationId xmlns:a16="http://schemas.microsoft.com/office/drawing/2014/main" id="{20531744-8E23-44AD-A280-8572ED97A7DE}"/>
              </a:ext>
            </a:extLst>
          </p:cNvPr>
          <p:cNvSpPr>
            <a:spLocks noChangeAspect="1"/>
          </p:cNvSpPr>
          <p:nvPr/>
        </p:nvSpPr>
        <p:spPr>
          <a:xfrm>
            <a:off x="5937251" y="2662768"/>
            <a:ext cx="912283" cy="700617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4" name="橢圓 13">
            <a:extLst>
              <a:ext uri="{FF2B5EF4-FFF2-40B4-BE49-F238E27FC236}">
                <a16:creationId xmlns:a16="http://schemas.microsoft.com/office/drawing/2014/main" id="{AFE49FAE-832F-454D-90E8-515FF33A866F}"/>
              </a:ext>
            </a:extLst>
          </p:cNvPr>
          <p:cNvSpPr>
            <a:spLocks noChangeAspect="1"/>
          </p:cNvSpPr>
          <p:nvPr/>
        </p:nvSpPr>
        <p:spPr>
          <a:xfrm>
            <a:off x="0" y="345017"/>
            <a:ext cx="2321984" cy="2377016"/>
          </a:xfrm>
          <a:custGeom>
            <a:avLst/>
            <a:gdLst/>
            <a:ahLst/>
            <a:cxnLst/>
            <a:rect l="l" t="t" r="r" b="b"/>
            <a:pathLst>
              <a:path w="1486900" h="2189942">
                <a:moveTo>
                  <a:pt x="391929" y="0"/>
                </a:moveTo>
                <a:cubicBezTo>
                  <a:pt x="996665" y="0"/>
                  <a:pt x="1486900" y="490235"/>
                  <a:pt x="1486900" y="1094971"/>
                </a:cubicBezTo>
                <a:cubicBezTo>
                  <a:pt x="1486900" y="1699707"/>
                  <a:pt x="996665" y="2189942"/>
                  <a:pt x="391929" y="2189942"/>
                </a:cubicBezTo>
                <a:cubicBezTo>
                  <a:pt x="278541" y="2189942"/>
                  <a:pt x="169178" y="2172707"/>
                  <a:pt x="66318" y="2140714"/>
                </a:cubicBezTo>
                <a:lnTo>
                  <a:pt x="0" y="2116442"/>
                </a:lnTo>
                <a:lnTo>
                  <a:pt x="0" y="73500"/>
                </a:lnTo>
                <a:lnTo>
                  <a:pt x="66318" y="49228"/>
                </a:lnTo>
                <a:cubicBezTo>
                  <a:pt x="169178" y="17235"/>
                  <a:pt x="278541" y="0"/>
                  <a:pt x="391929" y="0"/>
                </a:cubicBezTo>
                <a:close/>
              </a:path>
            </a:pathLst>
          </a:cu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4997E329-17EE-4A75-A4C2-DB805CBFEFD6}"/>
              </a:ext>
            </a:extLst>
          </p:cNvPr>
          <p:cNvSpPr>
            <a:spLocks noChangeAspect="1"/>
          </p:cNvSpPr>
          <p:nvPr/>
        </p:nvSpPr>
        <p:spPr>
          <a:xfrm>
            <a:off x="6669617" y="654051"/>
            <a:ext cx="1583267" cy="1217083"/>
          </a:xfrm>
          <a:prstGeom prst="ellipse">
            <a:avLst/>
          </a:prstGeom>
          <a:solidFill>
            <a:srgbClr val="FFFFFF">
              <a:alpha val="7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6" name="橢圓 5">
            <a:extLst>
              <a:ext uri="{FF2B5EF4-FFF2-40B4-BE49-F238E27FC236}">
                <a16:creationId xmlns:a16="http://schemas.microsoft.com/office/drawing/2014/main" id="{3A0CC139-4286-4B1C-B226-62523E2F7029}"/>
              </a:ext>
            </a:extLst>
          </p:cNvPr>
          <p:cNvSpPr>
            <a:spLocks noChangeAspect="1"/>
          </p:cNvSpPr>
          <p:nvPr/>
        </p:nvSpPr>
        <p:spPr>
          <a:xfrm>
            <a:off x="2154767" y="895351"/>
            <a:ext cx="2207684" cy="1697567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603B2046-435A-4609-924F-A77819FF9D28}"/>
              </a:ext>
            </a:extLst>
          </p:cNvPr>
          <p:cNvSpPr>
            <a:spLocks noChangeAspect="1"/>
          </p:cNvSpPr>
          <p:nvPr/>
        </p:nvSpPr>
        <p:spPr>
          <a:xfrm>
            <a:off x="3342217" y="1432984"/>
            <a:ext cx="1727200" cy="1329267"/>
          </a:xfrm>
          <a:prstGeom prst="ellipse">
            <a:avLst/>
          </a:prstGeom>
          <a:solidFill>
            <a:schemeClr val="tx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E351AE7-4AF2-4015-ACC9-458364580492}"/>
              </a:ext>
            </a:extLst>
          </p:cNvPr>
          <p:cNvSpPr txBox="1">
            <a:spLocks noChangeAspect="1"/>
          </p:cNvSpPr>
          <p:nvPr/>
        </p:nvSpPr>
        <p:spPr>
          <a:xfrm>
            <a:off x="2641600" y="1035051"/>
            <a:ext cx="28786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800" dirty="0">
                <a:solidFill>
                  <a:schemeClr val="accent2">
                    <a:lumMod val="75000"/>
                  </a:schemeClr>
                </a:solidFill>
                <a:latin typeface="Heiti TC Light"/>
                <a:ea typeface="Heiti TC Light"/>
                <a:cs typeface="Heiti TC Light"/>
              </a:rPr>
              <a:t> </a:t>
            </a:r>
            <a:endParaRPr kumimoji="1" lang="zh-TW" altLang="en-US" sz="1800" dirty="0">
              <a:solidFill>
                <a:schemeClr val="accent2">
                  <a:lumMod val="75000"/>
                </a:schemeClr>
              </a:solidFill>
              <a:latin typeface="Heiti TC Light"/>
              <a:ea typeface="Heiti TC Light"/>
              <a:cs typeface="Heiti TC Light"/>
            </a:endParaRPr>
          </a:p>
        </p:txBody>
      </p:sp>
      <p:sp>
        <p:nvSpPr>
          <p:cNvPr id="9" name="橢圓 8">
            <a:extLst>
              <a:ext uri="{FF2B5EF4-FFF2-40B4-BE49-F238E27FC236}">
                <a16:creationId xmlns:a16="http://schemas.microsoft.com/office/drawing/2014/main" id="{4CC1D17A-66C6-41FC-AC1F-F7935EFEE929}"/>
              </a:ext>
            </a:extLst>
          </p:cNvPr>
          <p:cNvSpPr>
            <a:spLocks noChangeAspect="1"/>
          </p:cNvSpPr>
          <p:nvPr/>
        </p:nvSpPr>
        <p:spPr>
          <a:xfrm>
            <a:off x="3644901" y="4885267"/>
            <a:ext cx="1631951" cy="1253067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10" name="橢圓 9">
            <a:extLst>
              <a:ext uri="{FF2B5EF4-FFF2-40B4-BE49-F238E27FC236}">
                <a16:creationId xmlns:a16="http://schemas.microsoft.com/office/drawing/2014/main" id="{87CF789E-2B9D-4CE4-AC2C-D67FCDE38E63}"/>
              </a:ext>
            </a:extLst>
          </p:cNvPr>
          <p:cNvSpPr>
            <a:spLocks noChangeAspect="1"/>
          </p:cNvSpPr>
          <p:nvPr/>
        </p:nvSpPr>
        <p:spPr>
          <a:xfrm>
            <a:off x="7711017" y="770467"/>
            <a:ext cx="2207683" cy="1695451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11" name="矩形 5">
            <a:extLst>
              <a:ext uri="{FF2B5EF4-FFF2-40B4-BE49-F238E27FC236}">
                <a16:creationId xmlns:a16="http://schemas.microsoft.com/office/drawing/2014/main" id="{BC9C38A7-28F8-43C9-8B15-81DFE19E5F96}"/>
              </a:ext>
            </a:extLst>
          </p:cNvPr>
          <p:cNvSpPr>
            <a:spLocks noChangeAspect="1"/>
          </p:cNvSpPr>
          <p:nvPr/>
        </p:nvSpPr>
        <p:spPr>
          <a:xfrm>
            <a:off x="9306984" y="4601634"/>
            <a:ext cx="3257549" cy="2262717"/>
          </a:xfrm>
          <a:custGeom>
            <a:avLst/>
            <a:gdLst/>
            <a:ahLst/>
            <a:cxnLst/>
            <a:rect l="l" t="t" r="r" b="b"/>
            <a:pathLst>
              <a:path w="3261266" h="3130406">
                <a:moveTo>
                  <a:pt x="1813800" y="0"/>
                </a:moveTo>
                <a:cubicBezTo>
                  <a:pt x="2377276" y="0"/>
                  <a:pt x="2880739" y="256943"/>
                  <a:pt x="3213416" y="660055"/>
                </a:cubicBezTo>
                <a:lnTo>
                  <a:pt x="3261266" y="724043"/>
                </a:lnTo>
                <a:lnTo>
                  <a:pt x="3261266" y="2903557"/>
                </a:lnTo>
                <a:lnTo>
                  <a:pt x="3213416" y="2967545"/>
                </a:lnTo>
                <a:cubicBezTo>
                  <a:pt x="3176452" y="3012336"/>
                  <a:pt x="3137379" y="3055321"/>
                  <a:pt x="3096350" y="3096351"/>
                </a:cubicBezTo>
                <a:lnTo>
                  <a:pt x="3058880" y="3130406"/>
                </a:lnTo>
                <a:lnTo>
                  <a:pt x="568721" y="3130406"/>
                </a:lnTo>
                <a:lnTo>
                  <a:pt x="531250" y="3096351"/>
                </a:lnTo>
                <a:cubicBezTo>
                  <a:pt x="203017" y="2768117"/>
                  <a:pt x="0" y="2314667"/>
                  <a:pt x="0" y="1813800"/>
                </a:cubicBezTo>
                <a:cubicBezTo>
                  <a:pt x="0" y="812066"/>
                  <a:pt x="812066" y="0"/>
                  <a:pt x="1813800" y="0"/>
                </a:cubicBezTo>
                <a:close/>
              </a:path>
            </a:pathLst>
          </a:cu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sp>
        <p:nvSpPr>
          <p:cNvPr id="12" name="矩形 9">
            <a:extLst>
              <a:ext uri="{FF2B5EF4-FFF2-40B4-BE49-F238E27FC236}">
                <a16:creationId xmlns:a16="http://schemas.microsoft.com/office/drawing/2014/main" id="{A855BF28-EB0B-44F8-8F02-A9EC7B687064}"/>
              </a:ext>
            </a:extLst>
          </p:cNvPr>
          <p:cNvSpPr>
            <a:spLocks noChangeAspect="1"/>
          </p:cNvSpPr>
          <p:nvPr/>
        </p:nvSpPr>
        <p:spPr>
          <a:xfrm>
            <a:off x="9654118" y="4874685"/>
            <a:ext cx="2865967" cy="1983316"/>
          </a:xfrm>
          <a:custGeom>
            <a:avLst/>
            <a:gdLst/>
            <a:ahLst/>
            <a:cxnLst/>
            <a:rect l="l" t="t" r="r" b="b"/>
            <a:pathLst>
              <a:path w="2877698" h="2751668">
                <a:moveTo>
                  <a:pt x="1678954" y="0"/>
                </a:moveTo>
                <a:cubicBezTo>
                  <a:pt x="2135341" y="0"/>
                  <a:pt x="2549196" y="180902"/>
                  <a:pt x="2851827" y="474464"/>
                </a:cubicBezTo>
                <a:lnTo>
                  <a:pt x="2877698" y="502407"/>
                </a:lnTo>
                <a:lnTo>
                  <a:pt x="2877698" y="2751668"/>
                </a:lnTo>
                <a:lnTo>
                  <a:pt x="404217" y="2751668"/>
                </a:lnTo>
                <a:lnTo>
                  <a:pt x="383392" y="2728905"/>
                </a:lnTo>
                <a:cubicBezTo>
                  <a:pt x="143880" y="2440586"/>
                  <a:pt x="0" y="2070955"/>
                  <a:pt x="0" y="1667940"/>
                </a:cubicBezTo>
                <a:cubicBezTo>
                  <a:pt x="0" y="746762"/>
                  <a:pt x="751694" y="0"/>
                  <a:pt x="1678954" y="0"/>
                </a:cubicBezTo>
                <a:close/>
              </a:path>
            </a:pathLst>
          </a:cu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sp>
        <p:nvSpPr>
          <p:cNvPr id="13" name="矩形 6">
            <a:extLst>
              <a:ext uri="{FF2B5EF4-FFF2-40B4-BE49-F238E27FC236}">
                <a16:creationId xmlns:a16="http://schemas.microsoft.com/office/drawing/2014/main" id="{82BFEB65-CC22-450B-94E8-25EA507856A9}"/>
              </a:ext>
            </a:extLst>
          </p:cNvPr>
          <p:cNvSpPr>
            <a:spLocks noChangeAspect="1"/>
          </p:cNvSpPr>
          <p:nvPr/>
        </p:nvSpPr>
        <p:spPr>
          <a:xfrm>
            <a:off x="10100734" y="3092452"/>
            <a:ext cx="2080684" cy="2152649"/>
          </a:xfrm>
          <a:custGeom>
            <a:avLst/>
            <a:gdLst/>
            <a:ahLst/>
            <a:cxnLst/>
            <a:rect l="l" t="t" r="r" b="b"/>
            <a:pathLst>
              <a:path w="1333108" h="1966096">
                <a:moveTo>
                  <a:pt x="983048" y="0"/>
                </a:moveTo>
                <a:cubicBezTo>
                  <a:pt x="1084846" y="0"/>
                  <a:pt x="1183030" y="15473"/>
                  <a:pt x="1275376" y="44196"/>
                </a:cubicBezTo>
                <a:lnTo>
                  <a:pt x="1333108" y="65326"/>
                </a:lnTo>
                <a:lnTo>
                  <a:pt x="1333108" y="1900770"/>
                </a:lnTo>
                <a:lnTo>
                  <a:pt x="1275376" y="1921900"/>
                </a:lnTo>
                <a:cubicBezTo>
                  <a:pt x="1183030" y="1950623"/>
                  <a:pt x="1084846" y="1966096"/>
                  <a:pt x="983048" y="1966096"/>
                </a:cubicBezTo>
                <a:cubicBezTo>
                  <a:pt x="440126" y="1966096"/>
                  <a:pt x="0" y="1525970"/>
                  <a:pt x="0" y="983048"/>
                </a:cubicBezTo>
                <a:cubicBezTo>
                  <a:pt x="0" y="440126"/>
                  <a:pt x="440126" y="0"/>
                  <a:pt x="983048" y="0"/>
                </a:cubicBezTo>
                <a:close/>
              </a:path>
            </a:pathLst>
          </a:custGeom>
          <a:solidFill>
            <a:srgbClr val="44BCC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pic>
        <p:nvPicPr>
          <p:cNvPr id="14" name="圖片 17" descr="20190309_CGE_logo修改.png">
            <a:extLst>
              <a:ext uri="{FF2B5EF4-FFF2-40B4-BE49-F238E27FC236}">
                <a16:creationId xmlns:a16="http://schemas.microsoft.com/office/drawing/2014/main" id="{EB6AC644-91ED-4490-86A0-CD50C482E6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00"/>
          <a:stretch>
            <a:fillRect/>
          </a:stretch>
        </p:blipFill>
        <p:spPr bwMode="auto">
          <a:xfrm>
            <a:off x="10113433" y="5281085"/>
            <a:ext cx="2032000" cy="1399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標題 20"/>
          <p:cNvSpPr>
            <a:spLocks noGrp="1" noChangeAspect="1"/>
          </p:cNvSpPr>
          <p:nvPr>
            <p:ph type="title"/>
          </p:nvPr>
        </p:nvSpPr>
        <p:spPr>
          <a:xfrm>
            <a:off x="1174044" y="3092162"/>
            <a:ext cx="9967416" cy="852487"/>
          </a:xfrm>
        </p:spPr>
        <p:txBody>
          <a:bodyPr>
            <a:normAutofit/>
          </a:bodyPr>
          <a:lstStyle>
            <a:lvl1pPr>
              <a:defRPr sz="4000" b="1">
                <a:latin typeface="+mj-ea"/>
                <a:ea typeface="+mj-ea"/>
              </a:defRPr>
            </a:lvl1pPr>
          </a:lstStyle>
          <a:p>
            <a:r>
              <a:rPr lang="zh-TW" altLang="en-US"/>
              <a:t>按一下以編輯母片標題樣式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170179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風格（二）內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D1C4EE-9A2A-4D5B-AE23-5EA0422BDED4}"/>
              </a:ext>
            </a:extLst>
          </p:cNvPr>
          <p:cNvSpPr/>
          <p:nvPr userDrawn="1"/>
        </p:nvSpPr>
        <p:spPr>
          <a:xfrm>
            <a:off x="0" y="0"/>
            <a:ext cx="12192000" cy="69003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F5E3D56E-A7CC-4F3E-8410-5689CEEC6AAD}"/>
              </a:ext>
            </a:extLst>
          </p:cNvPr>
          <p:cNvSpPr/>
          <p:nvPr userDrawn="1"/>
        </p:nvSpPr>
        <p:spPr>
          <a:xfrm>
            <a:off x="10833101" y="5524500"/>
            <a:ext cx="1318684" cy="1320800"/>
          </a:xfrm>
          <a:prstGeom prst="ellipse">
            <a:avLst/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6" name="橢圓 5">
            <a:extLst>
              <a:ext uri="{FF2B5EF4-FFF2-40B4-BE49-F238E27FC236}">
                <a16:creationId xmlns:a16="http://schemas.microsoft.com/office/drawing/2014/main" id="{6B21C49E-2A16-4BD6-B706-874EC736391F}"/>
              </a:ext>
            </a:extLst>
          </p:cNvPr>
          <p:cNvSpPr/>
          <p:nvPr/>
        </p:nvSpPr>
        <p:spPr>
          <a:xfrm>
            <a:off x="29634" y="6051551"/>
            <a:ext cx="793751" cy="774700"/>
          </a:xfrm>
          <a:prstGeom prst="ellipse">
            <a:avLst/>
          </a:prstGeom>
          <a:noFill/>
          <a:ln>
            <a:solidFill>
              <a:srgbClr val="6A93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99749305-CA08-4FB6-94D2-A3F9E3923EBF}"/>
              </a:ext>
            </a:extLst>
          </p:cNvPr>
          <p:cNvSpPr>
            <a:spLocks noChangeAspect="1"/>
          </p:cNvSpPr>
          <p:nvPr/>
        </p:nvSpPr>
        <p:spPr>
          <a:xfrm>
            <a:off x="162985" y="5899151"/>
            <a:ext cx="891116" cy="914400"/>
          </a:xfrm>
          <a:prstGeom prst="ellipse">
            <a:avLst/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8" name="橢圓 7">
            <a:extLst>
              <a:ext uri="{FF2B5EF4-FFF2-40B4-BE49-F238E27FC236}">
                <a16:creationId xmlns:a16="http://schemas.microsoft.com/office/drawing/2014/main" id="{F52B8ACA-0EFF-43CE-B49F-CC6FAF916F9F}"/>
              </a:ext>
            </a:extLst>
          </p:cNvPr>
          <p:cNvSpPr/>
          <p:nvPr/>
        </p:nvSpPr>
        <p:spPr>
          <a:xfrm>
            <a:off x="103717" y="6138334"/>
            <a:ext cx="643467" cy="626533"/>
          </a:xfrm>
          <a:prstGeom prst="ellipse">
            <a:avLst/>
          </a:prstGeom>
          <a:solidFill>
            <a:srgbClr val="81B1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9" name="文字方塊 11">
            <a:extLst>
              <a:ext uri="{FF2B5EF4-FFF2-40B4-BE49-F238E27FC236}">
                <a16:creationId xmlns:a16="http://schemas.microsoft.com/office/drawing/2014/main" id="{43392374-6D65-4B5E-A8D6-74C9CBCC70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134" y="6303434"/>
            <a:ext cx="18473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kumimoji="1" lang="zh-TW" altLang="en-US" sz="2400">
              <a:solidFill>
                <a:schemeClr val="bg1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0" name="投影片編號版面配置區 5">
            <a:extLst>
              <a:ext uri="{FF2B5EF4-FFF2-40B4-BE49-F238E27FC236}">
                <a16:creationId xmlns:a16="http://schemas.microsoft.com/office/drawing/2014/main" id="{D1B8F664-087F-4482-9379-1DD997C563B9}"/>
              </a:ext>
            </a:extLst>
          </p:cNvPr>
          <p:cNvSpPr txBox="1">
            <a:spLocks/>
          </p:cNvSpPr>
          <p:nvPr userDrawn="1"/>
        </p:nvSpPr>
        <p:spPr>
          <a:xfrm>
            <a:off x="10584" y="6269567"/>
            <a:ext cx="643467" cy="440267"/>
          </a:xfrm>
          <a:prstGeom prst="rect">
            <a:avLst/>
          </a:prstGeom>
        </p:spPr>
        <p:txBody>
          <a:bodyPr anchor="ctr"/>
          <a:lstStyle>
            <a:defPPr>
              <a:defRPr lang="zh-TW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8D3AFE7-F626-4CF0-89B8-77EADEE55A61}" type="slidenum">
              <a:rPr kumimoji="1" lang="zh-TW" altLang="en-US" sz="1600" b="1" smtClean="0">
                <a:solidFill>
                  <a:srgbClr val="FFFFFF"/>
                </a:solidFill>
                <a:latin typeface="Times New Roman" panose="02020603050405020304" pitchFamily="18" charset="0"/>
                <a:ea typeface="標楷體" panose="03000509000000000000" pitchFamily="65" charset="-12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1" lang="zh-TW" altLang="en-US" sz="1600" b="1" dirty="0">
              <a:solidFill>
                <a:srgbClr val="FFFFFF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1" name="拱形 10">
            <a:extLst>
              <a:ext uri="{FF2B5EF4-FFF2-40B4-BE49-F238E27FC236}">
                <a16:creationId xmlns:a16="http://schemas.microsoft.com/office/drawing/2014/main" id="{469AD193-A8E7-40F9-B375-C027D600B675}"/>
              </a:ext>
            </a:extLst>
          </p:cNvPr>
          <p:cNvSpPr/>
          <p:nvPr userDrawn="1"/>
        </p:nvSpPr>
        <p:spPr>
          <a:xfrm rot="16200000">
            <a:off x="11739034" y="6034617"/>
            <a:ext cx="1570567" cy="1371600"/>
          </a:xfrm>
          <a:prstGeom prst="blockArc">
            <a:avLst>
              <a:gd name="adj1" fmla="val 10800000"/>
              <a:gd name="adj2" fmla="val 21244497"/>
              <a:gd name="adj3" fmla="val 0"/>
            </a:avLst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2" name="橢圓 11">
            <a:extLst>
              <a:ext uri="{FF2B5EF4-FFF2-40B4-BE49-F238E27FC236}">
                <a16:creationId xmlns:a16="http://schemas.microsoft.com/office/drawing/2014/main" id="{14AAA764-8849-4AB7-924C-7CCDD8436041}"/>
              </a:ext>
            </a:extLst>
          </p:cNvPr>
          <p:cNvSpPr/>
          <p:nvPr userDrawn="1"/>
        </p:nvSpPr>
        <p:spPr>
          <a:xfrm>
            <a:off x="10951634" y="5630334"/>
            <a:ext cx="1068917" cy="1068917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pic>
        <p:nvPicPr>
          <p:cNvPr id="13" name="圖片 15" descr="20190309_CGE_logo修改.png">
            <a:extLst>
              <a:ext uri="{FF2B5EF4-FFF2-40B4-BE49-F238E27FC236}">
                <a16:creationId xmlns:a16="http://schemas.microsoft.com/office/drawing/2014/main" id="{B6F69CAC-06A9-49C2-8422-65A1D3BDB326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0930467" y="5939367"/>
            <a:ext cx="1265767" cy="450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26296" y="221182"/>
            <a:ext cx="10307749" cy="852487"/>
          </a:xfrm>
        </p:spPr>
        <p:txBody>
          <a:bodyPr>
            <a:normAutofit/>
          </a:bodyPr>
          <a:lstStyle>
            <a:lvl1pPr>
              <a:defRPr sz="4267" b="1">
                <a:solidFill>
                  <a:schemeClr val="accent6">
                    <a:lumMod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026297" y="1337244"/>
            <a:ext cx="10307749" cy="405230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14" name="日期版面配置區 3">
            <a:extLst>
              <a:ext uri="{FF2B5EF4-FFF2-40B4-BE49-F238E27FC236}">
                <a16:creationId xmlns:a16="http://schemas.microsoft.com/office/drawing/2014/main" id="{A4D2DED5-1F42-4C5D-B576-80283FB953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76501" y="6390217"/>
            <a:ext cx="1799167" cy="36406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A0410FC-42BE-C34A-A922-A2B0C92F25FA}" type="datetimeFigureOut">
              <a:rPr lang="zh-TW" altLang="en-US"/>
              <a:pPr>
                <a:defRPr/>
              </a:pPr>
              <a:t>2022/12/5</a:t>
            </a:fld>
            <a:endParaRPr lang="zh-TW" altLang="en-US"/>
          </a:p>
        </p:txBody>
      </p:sp>
      <p:sp>
        <p:nvSpPr>
          <p:cNvPr id="15" name="頁尾版面配置區 4">
            <a:extLst>
              <a:ext uri="{FF2B5EF4-FFF2-40B4-BE49-F238E27FC236}">
                <a16:creationId xmlns:a16="http://schemas.microsoft.com/office/drawing/2014/main" id="{70E08AFA-2A61-4155-BFA1-97A614AF0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85268" y="6390217"/>
            <a:ext cx="4423833" cy="364067"/>
          </a:xfrm>
        </p:spPr>
        <p:txBody>
          <a:bodyPr/>
          <a:lstStyle>
            <a:lvl1pPr algn="l">
              <a:defRPr dirty="0"/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486448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6871660-759B-294A-A7F6-334C77E3F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85926AF0-D5EC-7B4C-9DA0-8C7E18416B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65A7BD27-D182-5549-85A8-FFC094321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E347974-AA86-1D4B-8A69-771E317D6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0AAA7BAF-8A97-864E-8CE3-E82B48CB6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10095470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383CF5DD-1E5F-574B-9090-C2EAFC56D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CE12D8E4-F2B1-7E40-AC67-DA4CF1B31B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7712D378-9F02-8A40-84B2-B47C69068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038A080F-D8F9-EE43-9F16-79EA1B482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C922954A-5F50-A746-9379-19B045E42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17485311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0923D3B-0F57-7849-9697-6893AA9B1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CB688AB3-F24D-D94F-A757-DF177576F8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8C34738E-0216-044A-9461-CF171D25FA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AF2399CE-FE47-4549-9FCD-C70D518E1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50B8C8EC-13B8-ED41-A670-D5E711F11D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2238093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>
            <a:extLst>
              <a:ext uri="{FF2B5EF4-FFF2-40B4-BE49-F238E27FC236}">
                <a16:creationId xmlns:a16="http://schemas.microsoft.com/office/drawing/2014/main" id="{6E28A128-959F-4C58-B20D-44BBE854D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7" t="6046" b="7150"/>
          <a:stretch/>
        </p:blipFill>
        <p:spPr>
          <a:xfrm>
            <a:off x="389325" y="250055"/>
            <a:ext cx="7731577" cy="6357891"/>
          </a:xfrm>
          <a:prstGeom prst="rect">
            <a:avLst/>
          </a:prstGeom>
        </p:spPr>
      </p:pic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439476" y="3590613"/>
            <a:ext cx="10363200" cy="763588"/>
          </a:xfrm>
        </p:spPr>
        <p:txBody>
          <a:bodyPr>
            <a:normAutofit/>
          </a:bodyPr>
          <a:lstStyle>
            <a:lvl1pPr>
              <a:defRPr sz="3733" b="1">
                <a:solidFill>
                  <a:schemeClr val="bg1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defRPr>
            </a:lvl1pPr>
          </a:lstStyle>
          <a:p>
            <a:r>
              <a:rPr kumimoji="1" lang="zh-TW" altLang="en-US" dirty="0"/>
              <a:t>按一下以編輯母片標題樣式</a:t>
            </a:r>
          </a:p>
        </p:txBody>
      </p:sp>
      <p:pic>
        <p:nvPicPr>
          <p:cNvPr id="3" name="圖片 2" descr="logo00-2.png">
            <a:extLst>
              <a:ext uri="{FF2B5EF4-FFF2-40B4-BE49-F238E27FC236}">
                <a16:creationId xmlns:a16="http://schemas.microsoft.com/office/drawing/2014/main" id="{62E0D232-396C-44AB-AE26-C14399BEA4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9249" b="19558"/>
          <a:stretch/>
        </p:blipFill>
        <p:spPr>
          <a:xfrm>
            <a:off x="10635949" y="6330026"/>
            <a:ext cx="1344000" cy="245501"/>
          </a:xfrm>
          <a:prstGeom prst="rect">
            <a:avLst/>
          </a:prstGeom>
        </p:spPr>
      </p:pic>
      <p:pic>
        <p:nvPicPr>
          <p:cNvPr id="5" name="圖片 4" descr="一張含有 文字 的圖片&#10;&#10;自動產生的描述">
            <a:extLst>
              <a:ext uri="{FF2B5EF4-FFF2-40B4-BE49-F238E27FC236}">
                <a16:creationId xmlns:a16="http://schemas.microsoft.com/office/drawing/2014/main" id="{9B3D7340-8672-4E5A-921E-8E9941BA95D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635949" y="5964260"/>
            <a:ext cx="1344000" cy="245293"/>
          </a:xfrm>
          <a:prstGeom prst="rect">
            <a:avLst/>
          </a:prstGeom>
        </p:spPr>
      </p:pic>
      <p:pic>
        <p:nvPicPr>
          <p:cNvPr id="7" name="圖片 6" descr="一張含有 文字 的圖片&#10;&#10;自動產生的描述">
            <a:extLst>
              <a:ext uri="{FF2B5EF4-FFF2-40B4-BE49-F238E27FC236}">
                <a16:creationId xmlns:a16="http://schemas.microsoft.com/office/drawing/2014/main" id="{C5D9C9A2-C603-43BF-8109-192632C683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17600" y="5449680"/>
            <a:ext cx="1162349" cy="302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3128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49F56ABD-5273-D044-8FAC-FEDA4FEC7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344E3C73-5CE4-2847-B9A3-7A926984D4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FF4C0758-F73C-724C-B531-A6D87670D3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3691E280-D2E8-2149-B8EB-D641D4409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0259683A-2313-FA4C-85F2-799074EFF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4A28EF0B-719F-634C-8952-AF9213171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9747223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B499FAD-8A45-8548-A7AF-769AE276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9FBF80F1-832F-FB42-96D8-E6051040A8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534F87BD-C3BC-DA46-8E53-E1A293179B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5" name="文字版面配置區 4">
            <a:extLst>
              <a:ext uri="{FF2B5EF4-FFF2-40B4-BE49-F238E27FC236}">
                <a16:creationId xmlns:a16="http://schemas.microsoft.com/office/drawing/2014/main" id="{D38CC58C-6B03-BD49-84F1-50C068FB5A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</p:txBody>
      </p:sp>
      <p:sp>
        <p:nvSpPr>
          <p:cNvPr id="6" name="內容版面配置區 5">
            <a:extLst>
              <a:ext uri="{FF2B5EF4-FFF2-40B4-BE49-F238E27FC236}">
                <a16:creationId xmlns:a16="http://schemas.microsoft.com/office/drawing/2014/main" id="{A0155129-2AD1-8542-A6A4-E6A7931F37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7" name="日期版面配置區 6">
            <a:extLst>
              <a:ext uri="{FF2B5EF4-FFF2-40B4-BE49-F238E27FC236}">
                <a16:creationId xmlns:a16="http://schemas.microsoft.com/office/drawing/2014/main" id="{2BB00E30-DDDD-7D47-AC7F-C5A4412AF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8" name="頁尾版面配置區 7">
            <a:extLst>
              <a:ext uri="{FF2B5EF4-FFF2-40B4-BE49-F238E27FC236}">
                <a16:creationId xmlns:a16="http://schemas.microsoft.com/office/drawing/2014/main" id="{E8AFB7A1-39A8-164F-8624-C6C125C26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9" name="投影片編號版面配置區 8">
            <a:extLst>
              <a:ext uri="{FF2B5EF4-FFF2-40B4-BE49-F238E27FC236}">
                <a16:creationId xmlns:a16="http://schemas.microsoft.com/office/drawing/2014/main" id="{C18CFDFE-E7B9-1944-9B3F-60762A517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28897891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4D6A971-ED4A-2F4F-88EB-5E6C538D9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923946AC-57E7-7743-A0CE-5949C9F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A1B42C07-C1BD-844A-B3BF-4EA6AC3E6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83BDC7F9-F1C8-994D-B570-7F789A7E43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3992646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ADB991E5-FCAF-6342-87C3-337CF44E35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1EFA3BFB-A216-EA44-AEB6-0C465F24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3976666-9D2C-074D-B7C6-2767136F5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32816348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4F0EEFD-13C1-7343-8224-6188F5900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AF7DC16D-37A8-2B49-950B-08B028C20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1602E0D0-5CCE-E643-A71B-50194425CC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5BBA27AB-89A0-B842-8108-B188FE9C1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0163160D-015E-944C-B0F0-8CD6BE437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AF2D6C82-6442-F542-8C5A-2272441FD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3978135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7D01EBA0-6ED8-0D4D-A002-3B9B913CB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圖片版面配置區 2">
            <a:extLst>
              <a:ext uri="{FF2B5EF4-FFF2-40B4-BE49-F238E27FC236}">
                <a16:creationId xmlns:a16="http://schemas.microsoft.com/office/drawing/2014/main" id="{B937593F-A44D-FD41-A754-7BFFAD2A8B9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TW" altLang="en-US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9066EB6F-3160-854E-ADFE-E706158CB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DF2B86D5-90E0-0442-8F12-C0600392A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65FDF26F-D379-B340-9DFB-AC7144BF9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B29824AD-57C2-7245-9A8B-D440F7ADF9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718274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CF2E71F-7545-2B40-8FB8-7FD2A5102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147F3832-2B2B-FE49-8AF6-B47E100ECC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78C4044A-3F22-6144-8F23-1F798512D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C40B713D-AA07-B642-B913-D3E680B2EE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C2A2CBD8-FF15-FA48-8C32-F9FC519595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5310145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>
            <a:extLst>
              <a:ext uri="{FF2B5EF4-FFF2-40B4-BE49-F238E27FC236}">
                <a16:creationId xmlns:a16="http://schemas.microsoft.com/office/drawing/2014/main" id="{6244C11E-3768-BD44-9275-3FB40F89FD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F5BCE6C3-62E6-1B4B-ACEC-36D06C63C2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DADB3557-F5B9-2D41-ABE4-272F79A3CB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FCCB9E25-032B-CE46-81D5-292DC8932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82232FBA-4A00-2043-B229-88E6309DE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32939146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5">
            <a:extLst>
              <a:ext uri="{FF2B5EF4-FFF2-40B4-BE49-F238E27FC236}">
                <a16:creationId xmlns:a16="http://schemas.microsoft.com/office/drawing/2014/main" id="{96410001-0DB4-47D1-A441-0D1FF80FCB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0201" y="6565901"/>
            <a:ext cx="2275417" cy="364067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333" b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514B095-7AD3-43AD-B7B8-7904E178C07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134371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633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72D830-1F5E-4363-8C00-1B290218B83E}" type="datetimeFigureOut">
              <a:rPr lang="zh-TW" altLang="en-US" smtClean="0"/>
              <a:t>2022/12/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83FEE6-1726-4F7E-A43A-AC7AFA18A81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557785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0B052934-BE2C-4392-BEE4-3B11DDF9B971}"/>
              </a:ext>
            </a:extLst>
          </p:cNvPr>
          <p:cNvSpPr/>
          <p:nvPr userDrawn="1"/>
        </p:nvSpPr>
        <p:spPr>
          <a:xfrm>
            <a:off x="2" y="1388613"/>
            <a:ext cx="7293428" cy="3796291"/>
          </a:xfrm>
          <a:custGeom>
            <a:avLst/>
            <a:gdLst>
              <a:gd name="connsiteX0" fmla="*/ 0 w 7293428"/>
              <a:gd name="connsiteY0" fmla="*/ 0 h 3796290"/>
              <a:gd name="connsiteX1" fmla="*/ 903514 w 7293428"/>
              <a:gd name="connsiteY1" fmla="*/ 0 h 3796290"/>
              <a:gd name="connsiteX2" fmla="*/ 958022 w 7293428"/>
              <a:gd name="connsiteY2" fmla="*/ 0 h 3796290"/>
              <a:gd name="connsiteX3" fmla="*/ 1861536 w 7293428"/>
              <a:gd name="connsiteY3" fmla="*/ 0 h 3796290"/>
              <a:gd name="connsiteX4" fmla="*/ 1869538 w 7293428"/>
              <a:gd name="connsiteY4" fmla="*/ 0 h 3796290"/>
              <a:gd name="connsiteX5" fmla="*/ 2773052 w 7293428"/>
              <a:gd name="connsiteY5" fmla="*/ 0 h 3796290"/>
              <a:gd name="connsiteX6" fmla="*/ 6389914 w 7293428"/>
              <a:gd name="connsiteY6" fmla="*/ 0 h 3796290"/>
              <a:gd name="connsiteX7" fmla="*/ 7293428 w 7293428"/>
              <a:gd name="connsiteY7" fmla="*/ 0 h 3796290"/>
              <a:gd name="connsiteX8" fmla="*/ 6335407 w 7293428"/>
              <a:gd name="connsiteY8" fmla="*/ 3796290 h 3796290"/>
              <a:gd name="connsiteX9" fmla="*/ 5431893 w 7293428"/>
              <a:gd name="connsiteY9" fmla="*/ 3796290 h 3796290"/>
              <a:gd name="connsiteX10" fmla="*/ 2773052 w 7293428"/>
              <a:gd name="connsiteY10" fmla="*/ 3796290 h 3796290"/>
              <a:gd name="connsiteX11" fmla="*/ 1869538 w 7293428"/>
              <a:gd name="connsiteY11" fmla="*/ 3796290 h 3796290"/>
              <a:gd name="connsiteX12" fmla="*/ 903514 w 7293428"/>
              <a:gd name="connsiteY12" fmla="*/ 3796290 h 3796290"/>
              <a:gd name="connsiteX13" fmla="*/ 0 w 7293428"/>
              <a:gd name="connsiteY13" fmla="*/ 3796290 h 3796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93428" h="3796290">
                <a:moveTo>
                  <a:pt x="0" y="0"/>
                </a:moveTo>
                <a:lnTo>
                  <a:pt x="903514" y="0"/>
                </a:lnTo>
                <a:lnTo>
                  <a:pt x="958022" y="0"/>
                </a:lnTo>
                <a:lnTo>
                  <a:pt x="1861536" y="0"/>
                </a:lnTo>
                <a:lnTo>
                  <a:pt x="1869538" y="0"/>
                </a:lnTo>
                <a:lnTo>
                  <a:pt x="2773052" y="0"/>
                </a:lnTo>
                <a:lnTo>
                  <a:pt x="6389914" y="0"/>
                </a:lnTo>
                <a:lnTo>
                  <a:pt x="7293428" y="0"/>
                </a:lnTo>
                <a:lnTo>
                  <a:pt x="6335407" y="3796290"/>
                </a:lnTo>
                <a:lnTo>
                  <a:pt x="5431893" y="3796290"/>
                </a:lnTo>
                <a:lnTo>
                  <a:pt x="2773052" y="3796290"/>
                </a:lnTo>
                <a:lnTo>
                  <a:pt x="1869538" y="3796290"/>
                </a:lnTo>
                <a:lnTo>
                  <a:pt x="903514" y="3796290"/>
                </a:lnTo>
                <a:lnTo>
                  <a:pt x="0" y="3796290"/>
                </a:lnTo>
                <a:close/>
              </a:path>
            </a:pathLst>
          </a:custGeom>
          <a:blipFill>
            <a:blip r:embed="rId2"/>
            <a:stretch>
              <a:fillRect t="-4047" b="-4020"/>
            </a:stretch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2331792F-DA9B-4FCA-B1EA-C8D1074CF80D}"/>
              </a:ext>
            </a:extLst>
          </p:cNvPr>
          <p:cNvSpPr/>
          <p:nvPr userDrawn="1"/>
        </p:nvSpPr>
        <p:spPr>
          <a:xfrm>
            <a:off x="6096001" y="2429619"/>
            <a:ext cx="6095999" cy="1998763"/>
          </a:xfrm>
          <a:custGeom>
            <a:avLst/>
            <a:gdLst>
              <a:gd name="connsiteX0" fmla="*/ 499691 w 6741721"/>
              <a:gd name="connsiteY0" fmla="*/ 0 h 1998762"/>
              <a:gd name="connsiteX1" fmla="*/ 4120904 w 6741721"/>
              <a:gd name="connsiteY1" fmla="*/ 0 h 1998762"/>
              <a:gd name="connsiteX2" fmla="*/ 5264399 w 6741721"/>
              <a:gd name="connsiteY2" fmla="*/ 0 h 1998762"/>
              <a:gd name="connsiteX3" fmla="*/ 6741721 w 6741721"/>
              <a:gd name="connsiteY3" fmla="*/ 0 h 1998762"/>
              <a:gd name="connsiteX4" fmla="*/ 6741721 w 6741721"/>
              <a:gd name="connsiteY4" fmla="*/ 1998762 h 1998762"/>
              <a:gd name="connsiteX5" fmla="*/ 4764709 w 6741721"/>
              <a:gd name="connsiteY5" fmla="*/ 1998762 h 1998762"/>
              <a:gd name="connsiteX6" fmla="*/ 4120904 w 6741721"/>
              <a:gd name="connsiteY6" fmla="*/ 1998762 h 1998762"/>
              <a:gd name="connsiteX7" fmla="*/ 0 w 6741721"/>
              <a:gd name="connsiteY7" fmla="*/ 1998762 h 199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1721" h="1998762">
                <a:moveTo>
                  <a:pt x="499691" y="0"/>
                </a:moveTo>
                <a:lnTo>
                  <a:pt x="4120904" y="0"/>
                </a:lnTo>
                <a:lnTo>
                  <a:pt x="5264399" y="0"/>
                </a:lnTo>
                <a:lnTo>
                  <a:pt x="6741721" y="0"/>
                </a:lnTo>
                <a:lnTo>
                  <a:pt x="6741721" y="1998762"/>
                </a:lnTo>
                <a:lnTo>
                  <a:pt x="4764709" y="1998762"/>
                </a:lnTo>
                <a:lnTo>
                  <a:pt x="4120904" y="1998762"/>
                </a:lnTo>
                <a:lnTo>
                  <a:pt x="0" y="1998762"/>
                </a:lnTo>
                <a:close/>
              </a:path>
            </a:pathLst>
          </a:custGeom>
          <a:solidFill>
            <a:srgbClr val="00B0F0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096001" y="2491022"/>
            <a:ext cx="5294811" cy="1326351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526541" y="5503639"/>
            <a:ext cx="4787175" cy="298776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26541" y="5799911"/>
            <a:ext cx="4787175" cy="298776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071163" y="3817374"/>
            <a:ext cx="5319648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12CF37B3-92CE-45DC-A2BD-DAB31A0969AF}"/>
              </a:ext>
            </a:extLst>
          </p:cNvPr>
          <p:cNvSpPr/>
          <p:nvPr userDrawn="1"/>
        </p:nvSpPr>
        <p:spPr>
          <a:xfrm flipH="1" flipV="1">
            <a:off x="1" y="5481176"/>
            <a:ext cx="1419763" cy="569307"/>
          </a:xfrm>
          <a:custGeom>
            <a:avLst/>
            <a:gdLst>
              <a:gd name="connsiteX0" fmla="*/ 1419763 w 1419763"/>
              <a:gd name="connsiteY0" fmla="*/ 569306 h 569306"/>
              <a:gd name="connsiteX1" fmla="*/ 856652 w 1419763"/>
              <a:gd name="connsiteY1" fmla="*/ 569306 h 569306"/>
              <a:gd name="connsiteX2" fmla="*/ 673277 w 1419763"/>
              <a:gd name="connsiteY2" fmla="*/ 569306 h 569306"/>
              <a:gd name="connsiteX3" fmla="*/ 0 w 1419763"/>
              <a:gd name="connsiteY3" fmla="*/ 569306 h 569306"/>
              <a:gd name="connsiteX4" fmla="*/ 142327 w 1419763"/>
              <a:gd name="connsiteY4" fmla="*/ 0 h 569306"/>
              <a:gd name="connsiteX5" fmla="*/ 673277 w 1419763"/>
              <a:gd name="connsiteY5" fmla="*/ 0 h 569306"/>
              <a:gd name="connsiteX6" fmla="*/ 998978 w 1419763"/>
              <a:gd name="connsiteY6" fmla="*/ 0 h 569306"/>
              <a:gd name="connsiteX7" fmla="*/ 1419763 w 1419763"/>
              <a:gd name="connsiteY7" fmla="*/ 0 h 569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9763" h="569306">
                <a:moveTo>
                  <a:pt x="1419763" y="569306"/>
                </a:moveTo>
                <a:lnTo>
                  <a:pt x="856652" y="569306"/>
                </a:lnTo>
                <a:lnTo>
                  <a:pt x="673277" y="569306"/>
                </a:lnTo>
                <a:lnTo>
                  <a:pt x="0" y="569306"/>
                </a:lnTo>
                <a:lnTo>
                  <a:pt x="142327" y="0"/>
                </a:lnTo>
                <a:lnTo>
                  <a:pt x="673277" y="0"/>
                </a:lnTo>
                <a:lnTo>
                  <a:pt x="998978" y="0"/>
                </a:lnTo>
                <a:lnTo>
                  <a:pt x="1419763" y="0"/>
                </a:lnTo>
                <a:close/>
              </a:path>
            </a:pathLst>
          </a:custGeom>
          <a:solidFill>
            <a:srgbClr val="00B0F0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732352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6">
            <a:extLst>
              <a:ext uri="{FF2B5EF4-FFF2-40B4-BE49-F238E27FC236}">
                <a16:creationId xmlns:a16="http://schemas.microsoft.com/office/drawing/2014/main" id="{698A6E46-2BC8-455B-BEF5-863758B987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4" name="文字方塊 7">
            <a:extLst>
              <a:ext uri="{FF2B5EF4-FFF2-40B4-BE49-F238E27FC236}">
                <a16:creationId xmlns:a16="http://schemas.microsoft.com/office/drawing/2014/main" id="{E3037B47-647B-4374-93D6-F584F6AD24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55617" y="6083300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345B31E6-0D0A-4F58-8F4F-CB1FF4EB2F01}"/>
              </a:ext>
            </a:extLst>
          </p:cNvPr>
          <p:cNvSpPr/>
          <p:nvPr userDrawn="1"/>
        </p:nvSpPr>
        <p:spPr>
          <a:xfrm>
            <a:off x="11203518" y="6199718"/>
            <a:ext cx="893233" cy="69638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/>
          </a:p>
        </p:txBody>
      </p:sp>
      <p:pic>
        <p:nvPicPr>
          <p:cNvPr id="6" name="圖片 9" descr="20190309_CGE_logo修改.png">
            <a:extLst>
              <a:ext uri="{FF2B5EF4-FFF2-40B4-BE49-F238E27FC236}">
                <a16:creationId xmlns:a16="http://schemas.microsoft.com/office/drawing/2014/main" id="{F11BBEA9-932D-4DC0-9E9C-DC0F4A6D9A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1076517" y="6400800"/>
            <a:ext cx="1115483" cy="29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007435" y="2708922"/>
            <a:ext cx="10363200" cy="1470025"/>
          </a:xfrm>
        </p:spPr>
        <p:txBody>
          <a:bodyPr>
            <a:normAutofit/>
          </a:bodyPr>
          <a:lstStyle>
            <a:lvl1pPr algn="ctr">
              <a:defRPr sz="3200" b="1">
                <a:solidFill>
                  <a:srgbClr val="000080"/>
                </a:solidFill>
                <a:latin typeface="Times New Roman"/>
                <a:ea typeface="標楷體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頁尾版面配置區 4">
            <a:extLst>
              <a:ext uri="{FF2B5EF4-FFF2-40B4-BE49-F238E27FC236}">
                <a16:creationId xmlns:a16="http://schemas.microsoft.com/office/drawing/2014/main" id="{A46125E8-FA40-49B9-8BDD-107BC7D86D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投影片編號版面配置區 5">
            <a:extLst>
              <a:ext uri="{FF2B5EF4-FFF2-40B4-BE49-F238E27FC236}">
                <a16:creationId xmlns:a16="http://schemas.microsoft.com/office/drawing/2014/main" id="{7AA0031A-1D69-4684-8911-6692FB6C4A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373785" y="6449485"/>
            <a:ext cx="1773767" cy="366183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C04484C3-A492-4928-BEB5-C181BFBE75B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4634060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/>
          <p:nvPr/>
        </p:nvSpPr>
        <p:spPr>
          <a:xfrm rot="16200000">
            <a:off x="10428993" y="522524"/>
            <a:ext cx="2294723" cy="1318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4" h="21225" extrusionOk="0">
                <a:moveTo>
                  <a:pt x="0" y="20524"/>
                </a:moveTo>
                <a:cubicBezTo>
                  <a:pt x="0" y="9189"/>
                  <a:pt x="4792" y="0"/>
                  <a:pt x="10702" y="0"/>
                </a:cubicBezTo>
                <a:cubicBezTo>
                  <a:pt x="16613" y="0"/>
                  <a:pt x="21404" y="9189"/>
                  <a:pt x="21404" y="20524"/>
                </a:cubicBezTo>
                <a:cubicBezTo>
                  <a:pt x="21404" y="20758"/>
                  <a:pt x="21402" y="20991"/>
                  <a:pt x="21398" y="21225"/>
                </a:cubicBezTo>
                <a:lnTo>
                  <a:pt x="21398" y="21225"/>
                </a:lnTo>
                <a:lnTo>
                  <a:pt x="21398" y="21225"/>
                </a:lnTo>
                <a:cubicBezTo>
                  <a:pt x="21600" y="9897"/>
                  <a:pt x="16975" y="400"/>
                  <a:pt x="11068" y="12"/>
                </a:cubicBezTo>
                <a:cubicBezTo>
                  <a:pt x="5161" y="-375"/>
                  <a:pt x="208" y="8494"/>
                  <a:pt x="6" y="19822"/>
                </a:cubicBezTo>
                <a:cubicBezTo>
                  <a:pt x="2" y="20056"/>
                  <a:pt x="0" y="20290"/>
                  <a:pt x="0" y="20524"/>
                </a:cubicBezTo>
                <a:close/>
              </a:path>
            </a:pathLst>
          </a:custGeom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1800"/>
          </a:p>
        </p:txBody>
      </p:sp>
      <p:grpSp>
        <p:nvGrpSpPr>
          <p:cNvPr id="2" name="群組 14"/>
          <p:cNvGrpSpPr/>
          <p:nvPr/>
        </p:nvGrpSpPr>
        <p:grpSpPr>
          <a:xfrm>
            <a:off x="3" y="6256405"/>
            <a:ext cx="792359" cy="713123"/>
            <a:chOff x="0" y="6256404"/>
            <a:chExt cx="594269" cy="713123"/>
          </a:xfrm>
        </p:grpSpPr>
        <p:sp>
          <p:nvSpPr>
            <p:cNvPr id="31" name="Shape 31"/>
            <p:cNvSpPr/>
            <p:nvPr/>
          </p:nvSpPr>
          <p:spPr>
            <a:xfrm>
              <a:off x="0" y="6256404"/>
              <a:ext cx="594269" cy="7131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noFill/>
            <a:ln w="9525" cap="flat">
              <a:solidFill>
                <a:srgbClr val="81B11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 sz="1800"/>
            </a:p>
          </p:txBody>
        </p:sp>
        <p:sp>
          <p:nvSpPr>
            <p:cNvPr id="34" name="Shape 34"/>
            <p:cNvSpPr/>
            <p:nvPr/>
          </p:nvSpPr>
          <p:spPr>
            <a:xfrm>
              <a:off x="0" y="6256404"/>
              <a:ext cx="482487" cy="578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81B11B"/>
            </a:solidFill>
            <a:ln w="9525" cap="flat">
              <a:solidFill>
                <a:srgbClr val="81B11B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 sz="1800"/>
            </a:p>
          </p:txBody>
        </p:sp>
      </p:grpSp>
      <p:sp>
        <p:nvSpPr>
          <p:cNvPr id="14" name="投影片編號版面配置區 5"/>
          <p:cNvSpPr txBox="1">
            <a:spLocks/>
          </p:cNvSpPr>
          <p:nvPr/>
        </p:nvSpPr>
        <p:spPr>
          <a:xfrm>
            <a:off x="-91440" y="6396981"/>
            <a:ext cx="643315" cy="4384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865918-2CD4-CD49-8280-D8A4250BA3D0}" type="slidenum">
              <a:rPr kumimoji="1" lang="zh-TW" altLang="en-US" sz="1200" b="1" smtClean="0">
                <a:solidFill>
                  <a:srgbClr val="FFFFFF"/>
                </a:solidFill>
              </a:rPr>
              <a:pPr/>
              <a:t>‹#›</a:t>
            </a:fld>
            <a:endParaRPr kumimoji="1" lang="zh-TW" altLang="en-US" sz="1200" b="1" dirty="0">
              <a:solidFill>
                <a:srgbClr val="FFFFFF"/>
              </a:solidFill>
            </a:endParaRPr>
          </a:p>
        </p:txBody>
      </p:sp>
      <p:sp>
        <p:nvSpPr>
          <p:cNvPr id="11" name="橢圓 10">
            <a:extLst>
              <a:ext uri="{FF2B5EF4-FFF2-40B4-BE49-F238E27FC236}">
                <a16:creationId xmlns:a16="http://schemas.microsoft.com/office/drawing/2014/main" id="{06E4DDE2-439D-1749-B95D-B829BC8F61B5}"/>
              </a:ext>
            </a:extLst>
          </p:cNvPr>
          <p:cNvSpPr/>
          <p:nvPr userDrawn="1"/>
        </p:nvSpPr>
        <p:spPr>
          <a:xfrm>
            <a:off x="10782039" y="93381"/>
            <a:ext cx="1388800" cy="1003323"/>
          </a:xfrm>
          <a:prstGeom prst="ellipse">
            <a:avLst/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kumimoji="1" lang="zh-TW" altLang="en-US" sz="1800" dirty="0"/>
          </a:p>
        </p:txBody>
      </p:sp>
      <p:sp>
        <p:nvSpPr>
          <p:cNvPr id="12" name="拱形 11">
            <a:extLst>
              <a:ext uri="{FF2B5EF4-FFF2-40B4-BE49-F238E27FC236}">
                <a16:creationId xmlns:a16="http://schemas.microsoft.com/office/drawing/2014/main" id="{28DEECFC-8CA2-A744-92AD-892D4F54D198}"/>
              </a:ext>
            </a:extLst>
          </p:cNvPr>
          <p:cNvSpPr/>
          <p:nvPr userDrawn="1"/>
        </p:nvSpPr>
        <p:spPr>
          <a:xfrm rot="16200000">
            <a:off x="11815626" y="-162488"/>
            <a:ext cx="1178748" cy="1503727"/>
          </a:xfrm>
          <a:prstGeom prst="blockArc">
            <a:avLst>
              <a:gd name="adj1" fmla="val 10800000"/>
              <a:gd name="adj2" fmla="val 117488"/>
              <a:gd name="adj3" fmla="val 0"/>
            </a:avLst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kumimoji="1" lang="zh-TW" altLang="en-US" sz="1800"/>
          </a:p>
        </p:txBody>
      </p:sp>
      <p:sp>
        <p:nvSpPr>
          <p:cNvPr id="13" name="橢圓 12">
            <a:extLst>
              <a:ext uri="{FF2B5EF4-FFF2-40B4-BE49-F238E27FC236}">
                <a16:creationId xmlns:a16="http://schemas.microsoft.com/office/drawing/2014/main" id="{0C4EA688-8AA1-E748-A61D-53FCDC7204B0}"/>
              </a:ext>
            </a:extLst>
          </p:cNvPr>
          <p:cNvSpPr/>
          <p:nvPr userDrawn="1"/>
        </p:nvSpPr>
        <p:spPr>
          <a:xfrm>
            <a:off x="10864617" y="203515"/>
            <a:ext cx="1217323" cy="893428"/>
          </a:xfrm>
          <a:prstGeom prst="ellipse">
            <a:avLst/>
          </a:prstGeom>
          <a:solidFill>
            <a:schemeClr val="accent6">
              <a:lumMod val="40000"/>
              <a:lumOff val="60000"/>
              <a:alpha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kumimoji="1" lang="zh-TW" altLang="en-US" sz="1800" dirty="0"/>
          </a:p>
        </p:txBody>
      </p:sp>
      <p:pic>
        <p:nvPicPr>
          <p:cNvPr id="15" name="圖片 14" descr="20190309_CGE_logo修改.png">
            <a:extLst>
              <a:ext uri="{FF2B5EF4-FFF2-40B4-BE49-F238E27FC236}">
                <a16:creationId xmlns:a16="http://schemas.microsoft.com/office/drawing/2014/main" id="{83AFC14A-D272-DC41-AC76-BF54C5A875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99" t="11852" r="52563" b="46375"/>
          <a:stretch/>
        </p:blipFill>
        <p:spPr>
          <a:xfrm>
            <a:off x="10885031" y="499209"/>
            <a:ext cx="1262517" cy="337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77207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</p:spPr>
        <p:txBody>
          <a:bodyPr>
            <a:normAutofit/>
          </a:bodyPr>
          <a:lstStyle>
            <a:lvl1pPr>
              <a:defRPr sz="3200" b="1">
                <a:solidFill>
                  <a:srgbClr val="002060"/>
                </a:solidFill>
                <a:latin typeface="+mn-lt"/>
                <a:ea typeface="微軟正黑體" panose="020B0604030504040204" pitchFamily="34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379200" y="6239672"/>
            <a:ext cx="2275200" cy="365125"/>
          </a:xfrm>
        </p:spPr>
        <p:txBody>
          <a:bodyPr/>
          <a:lstStyle>
            <a:lvl1pPr>
              <a:defRPr sz="16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fld id="{3CBD9E41-3741-4017-A2C2-A6D983F224CA}" type="slidenum">
              <a:rPr lang="zh-TW" altLang="en-US" smtClean="0"/>
              <a:pPr/>
              <a:t>‹#›</a:t>
            </a:fld>
            <a:endParaRPr lang="zh-TW" altLang="en-US" dirty="0">
              <a:latin typeface="+mj-lt"/>
            </a:endParaRPr>
          </a:p>
        </p:txBody>
      </p:sp>
      <p:pic>
        <p:nvPicPr>
          <p:cNvPr id="14" name="圖片 13" descr="logo00-2.png">
            <a:extLst>
              <a:ext uri="{FF2B5EF4-FFF2-40B4-BE49-F238E27FC236}">
                <a16:creationId xmlns:a16="http://schemas.microsoft.com/office/drawing/2014/main" id="{63049EA5-447A-204A-B596-B81003858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249" b="19558"/>
          <a:stretch/>
        </p:blipFill>
        <p:spPr>
          <a:xfrm>
            <a:off x="144272" y="6286884"/>
            <a:ext cx="2759459" cy="504056"/>
          </a:xfrm>
          <a:prstGeom prst="rect">
            <a:avLst/>
          </a:prstGeom>
        </p:spPr>
      </p:pic>
      <p:sp>
        <p:nvSpPr>
          <p:cNvPr id="12" name="矩形 11">
            <a:extLst>
              <a:ext uri="{FF2B5EF4-FFF2-40B4-BE49-F238E27FC236}">
                <a16:creationId xmlns:a16="http://schemas.microsoft.com/office/drawing/2014/main" id="{047D55A8-6893-490F-95D9-20F0741B4570}"/>
              </a:ext>
            </a:extLst>
          </p:cNvPr>
          <p:cNvSpPr/>
          <p:nvPr userDrawn="1"/>
        </p:nvSpPr>
        <p:spPr>
          <a:xfrm>
            <a:off x="3124201" y="6721476"/>
            <a:ext cx="9083299" cy="136525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內容版面配置區 2">
            <a:extLst>
              <a:ext uri="{FF2B5EF4-FFF2-40B4-BE49-F238E27FC236}">
                <a16:creationId xmlns:a16="http://schemas.microsoft.com/office/drawing/2014/main" id="{A21667E1-8053-4B38-90F5-15F6D03F2F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89515" y="1380519"/>
            <a:ext cx="9412973" cy="4662488"/>
          </a:xfrm>
        </p:spPr>
        <p:txBody>
          <a:bodyPr/>
          <a:lstStyle>
            <a:lvl2pPr>
              <a:defRPr>
                <a:solidFill>
                  <a:schemeClr val="tx1"/>
                </a:solidFill>
                <a:latin typeface="+mn-lt"/>
                <a:ea typeface="微軟正黑體" panose="020B0604030504040204" pitchFamily="34" charset="-120"/>
              </a:defRPr>
            </a:lvl2pPr>
            <a:lvl3pPr>
              <a:defRPr>
                <a:latin typeface="+mn-lt"/>
                <a:ea typeface="微軟正黑體" panose="020B0604030504040204" pitchFamily="34" charset="-120"/>
              </a:defRPr>
            </a:lvl3pPr>
            <a:lvl4pPr>
              <a:defRPr>
                <a:latin typeface="+mn-lt"/>
                <a:ea typeface="微軟正黑體" panose="020B0604030504040204" pitchFamily="34" charset="-120"/>
              </a:defRPr>
            </a:lvl4pPr>
            <a:lvl5pPr>
              <a:defRPr>
                <a:latin typeface="+mn-lt"/>
                <a:ea typeface="微軟正黑體" panose="020B0604030504040204" pitchFamily="34" charset="-120"/>
              </a:defRPr>
            </a:lvl5pPr>
          </a:lstStyle>
          <a:p>
            <a:pPr lvl="1"/>
            <a:r>
              <a:rPr lang="zh-TW" altLang="en-US" dirty="0"/>
              <a:t>第一層</a:t>
            </a:r>
          </a:p>
          <a:p>
            <a:pPr lvl="2"/>
            <a:r>
              <a:rPr lang="zh-TW" altLang="en-US" dirty="0"/>
              <a:t>第二層</a:t>
            </a:r>
          </a:p>
          <a:p>
            <a:pPr lvl="3"/>
            <a:r>
              <a:rPr lang="zh-TW" altLang="en-US" dirty="0"/>
              <a:t>第三層</a:t>
            </a:r>
          </a:p>
          <a:p>
            <a:pPr lvl="4"/>
            <a:r>
              <a:rPr lang="zh-TW" altLang="en-US" dirty="0"/>
              <a:t>第四層</a:t>
            </a:r>
          </a:p>
        </p:txBody>
      </p:sp>
    </p:spTree>
    <p:extLst>
      <p:ext uri="{BB962C8B-B14F-4D97-AF65-F5344CB8AC3E}">
        <p14:creationId xmlns:p14="http://schemas.microsoft.com/office/powerpoint/2010/main" val="361400936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風格（一）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橢圓 2">
            <a:extLst>
              <a:ext uri="{FF2B5EF4-FFF2-40B4-BE49-F238E27FC236}">
                <a16:creationId xmlns:a16="http://schemas.microsoft.com/office/drawing/2014/main" id="{1E932FD8-3ECB-4DC4-9CE3-F02A3108E041}"/>
              </a:ext>
            </a:extLst>
          </p:cNvPr>
          <p:cNvSpPr>
            <a:spLocks noChangeAspect="1"/>
          </p:cNvSpPr>
          <p:nvPr/>
        </p:nvSpPr>
        <p:spPr>
          <a:xfrm>
            <a:off x="5937251" y="2662768"/>
            <a:ext cx="912283" cy="700617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4" name="橢圓 13">
            <a:extLst>
              <a:ext uri="{FF2B5EF4-FFF2-40B4-BE49-F238E27FC236}">
                <a16:creationId xmlns:a16="http://schemas.microsoft.com/office/drawing/2014/main" id="{47A35626-1A40-4F1E-8FE3-A17A4D7416E9}"/>
              </a:ext>
            </a:extLst>
          </p:cNvPr>
          <p:cNvSpPr>
            <a:spLocks noChangeAspect="1"/>
          </p:cNvSpPr>
          <p:nvPr/>
        </p:nvSpPr>
        <p:spPr>
          <a:xfrm>
            <a:off x="0" y="345017"/>
            <a:ext cx="2321984" cy="2377016"/>
          </a:xfrm>
          <a:custGeom>
            <a:avLst/>
            <a:gdLst/>
            <a:ahLst/>
            <a:cxnLst/>
            <a:rect l="l" t="t" r="r" b="b"/>
            <a:pathLst>
              <a:path w="1486900" h="2189942">
                <a:moveTo>
                  <a:pt x="391929" y="0"/>
                </a:moveTo>
                <a:cubicBezTo>
                  <a:pt x="996665" y="0"/>
                  <a:pt x="1486900" y="490235"/>
                  <a:pt x="1486900" y="1094971"/>
                </a:cubicBezTo>
                <a:cubicBezTo>
                  <a:pt x="1486900" y="1699707"/>
                  <a:pt x="996665" y="2189942"/>
                  <a:pt x="391929" y="2189942"/>
                </a:cubicBezTo>
                <a:cubicBezTo>
                  <a:pt x="278541" y="2189942"/>
                  <a:pt x="169178" y="2172707"/>
                  <a:pt x="66318" y="2140714"/>
                </a:cubicBezTo>
                <a:lnTo>
                  <a:pt x="0" y="2116442"/>
                </a:lnTo>
                <a:lnTo>
                  <a:pt x="0" y="73500"/>
                </a:lnTo>
                <a:lnTo>
                  <a:pt x="66318" y="49228"/>
                </a:lnTo>
                <a:cubicBezTo>
                  <a:pt x="169178" y="17235"/>
                  <a:pt x="278541" y="0"/>
                  <a:pt x="391929" y="0"/>
                </a:cubicBezTo>
                <a:close/>
              </a:path>
            </a:pathLst>
          </a:cu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36FCB9C5-B98F-42FA-B4E3-4C08B2A375E5}"/>
              </a:ext>
            </a:extLst>
          </p:cNvPr>
          <p:cNvSpPr>
            <a:spLocks noChangeAspect="1"/>
          </p:cNvSpPr>
          <p:nvPr/>
        </p:nvSpPr>
        <p:spPr>
          <a:xfrm>
            <a:off x="6669617" y="654051"/>
            <a:ext cx="1583267" cy="1217083"/>
          </a:xfrm>
          <a:prstGeom prst="ellipse">
            <a:avLst/>
          </a:prstGeom>
          <a:solidFill>
            <a:srgbClr val="FFFFFF">
              <a:alpha val="7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6" name="橢圓 5">
            <a:extLst>
              <a:ext uri="{FF2B5EF4-FFF2-40B4-BE49-F238E27FC236}">
                <a16:creationId xmlns:a16="http://schemas.microsoft.com/office/drawing/2014/main" id="{8A52115B-383E-4036-B9D1-B23075B5B334}"/>
              </a:ext>
            </a:extLst>
          </p:cNvPr>
          <p:cNvSpPr>
            <a:spLocks noChangeAspect="1"/>
          </p:cNvSpPr>
          <p:nvPr/>
        </p:nvSpPr>
        <p:spPr>
          <a:xfrm>
            <a:off x="2154767" y="895351"/>
            <a:ext cx="2207684" cy="1697567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DA39B3A0-EB83-4387-9179-0E1B7419F27E}"/>
              </a:ext>
            </a:extLst>
          </p:cNvPr>
          <p:cNvSpPr>
            <a:spLocks noChangeAspect="1"/>
          </p:cNvSpPr>
          <p:nvPr/>
        </p:nvSpPr>
        <p:spPr>
          <a:xfrm>
            <a:off x="3342217" y="1432984"/>
            <a:ext cx="1727200" cy="1329267"/>
          </a:xfrm>
          <a:prstGeom prst="ellipse">
            <a:avLst/>
          </a:prstGeom>
          <a:solidFill>
            <a:schemeClr val="tx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149EA6E2-FB72-45CE-BBD4-AC73AB8CC494}"/>
              </a:ext>
            </a:extLst>
          </p:cNvPr>
          <p:cNvSpPr txBox="1">
            <a:spLocks noChangeAspect="1"/>
          </p:cNvSpPr>
          <p:nvPr/>
        </p:nvSpPr>
        <p:spPr>
          <a:xfrm>
            <a:off x="2641600" y="1035051"/>
            <a:ext cx="287867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800" dirty="0">
                <a:solidFill>
                  <a:schemeClr val="accent2">
                    <a:lumMod val="75000"/>
                  </a:schemeClr>
                </a:solidFill>
                <a:latin typeface="Heiti TC Light"/>
                <a:ea typeface="Heiti TC Light"/>
                <a:cs typeface="Heiti TC Light"/>
              </a:rPr>
              <a:t> </a:t>
            </a:r>
            <a:endParaRPr kumimoji="1" lang="zh-TW" altLang="en-US" sz="1800" dirty="0">
              <a:solidFill>
                <a:schemeClr val="accent2">
                  <a:lumMod val="75000"/>
                </a:schemeClr>
              </a:solidFill>
              <a:latin typeface="Heiti TC Light"/>
              <a:ea typeface="Heiti TC Light"/>
              <a:cs typeface="Heiti TC Light"/>
            </a:endParaRPr>
          </a:p>
        </p:txBody>
      </p:sp>
      <p:sp>
        <p:nvSpPr>
          <p:cNvPr id="9" name="橢圓 8">
            <a:extLst>
              <a:ext uri="{FF2B5EF4-FFF2-40B4-BE49-F238E27FC236}">
                <a16:creationId xmlns:a16="http://schemas.microsoft.com/office/drawing/2014/main" id="{0669D618-6C78-4F90-B7AD-C9510AB1A167}"/>
              </a:ext>
            </a:extLst>
          </p:cNvPr>
          <p:cNvSpPr>
            <a:spLocks noChangeAspect="1"/>
          </p:cNvSpPr>
          <p:nvPr/>
        </p:nvSpPr>
        <p:spPr>
          <a:xfrm>
            <a:off x="3644901" y="4885267"/>
            <a:ext cx="1631951" cy="1253067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10" name="橢圓 9">
            <a:extLst>
              <a:ext uri="{FF2B5EF4-FFF2-40B4-BE49-F238E27FC236}">
                <a16:creationId xmlns:a16="http://schemas.microsoft.com/office/drawing/2014/main" id="{C2F858A8-45E9-4991-9D11-704D403AD2B4}"/>
              </a:ext>
            </a:extLst>
          </p:cNvPr>
          <p:cNvSpPr>
            <a:spLocks noChangeAspect="1"/>
          </p:cNvSpPr>
          <p:nvPr/>
        </p:nvSpPr>
        <p:spPr>
          <a:xfrm>
            <a:off x="7711017" y="770467"/>
            <a:ext cx="2207683" cy="1695451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 dirty="0"/>
          </a:p>
        </p:txBody>
      </p:sp>
      <p:sp>
        <p:nvSpPr>
          <p:cNvPr id="11" name="矩形 5">
            <a:extLst>
              <a:ext uri="{FF2B5EF4-FFF2-40B4-BE49-F238E27FC236}">
                <a16:creationId xmlns:a16="http://schemas.microsoft.com/office/drawing/2014/main" id="{F42E1FB4-007C-470F-8F91-8826556A9121}"/>
              </a:ext>
            </a:extLst>
          </p:cNvPr>
          <p:cNvSpPr>
            <a:spLocks noChangeAspect="1"/>
          </p:cNvSpPr>
          <p:nvPr/>
        </p:nvSpPr>
        <p:spPr>
          <a:xfrm>
            <a:off x="9306984" y="4601634"/>
            <a:ext cx="3257549" cy="2262717"/>
          </a:xfrm>
          <a:custGeom>
            <a:avLst/>
            <a:gdLst/>
            <a:ahLst/>
            <a:cxnLst/>
            <a:rect l="l" t="t" r="r" b="b"/>
            <a:pathLst>
              <a:path w="3261266" h="3130406">
                <a:moveTo>
                  <a:pt x="1813800" y="0"/>
                </a:moveTo>
                <a:cubicBezTo>
                  <a:pt x="2377276" y="0"/>
                  <a:pt x="2880739" y="256943"/>
                  <a:pt x="3213416" y="660055"/>
                </a:cubicBezTo>
                <a:lnTo>
                  <a:pt x="3261266" y="724043"/>
                </a:lnTo>
                <a:lnTo>
                  <a:pt x="3261266" y="2903557"/>
                </a:lnTo>
                <a:lnTo>
                  <a:pt x="3213416" y="2967545"/>
                </a:lnTo>
                <a:cubicBezTo>
                  <a:pt x="3176452" y="3012336"/>
                  <a:pt x="3137379" y="3055321"/>
                  <a:pt x="3096350" y="3096351"/>
                </a:cubicBezTo>
                <a:lnTo>
                  <a:pt x="3058880" y="3130406"/>
                </a:lnTo>
                <a:lnTo>
                  <a:pt x="568721" y="3130406"/>
                </a:lnTo>
                <a:lnTo>
                  <a:pt x="531250" y="3096351"/>
                </a:lnTo>
                <a:cubicBezTo>
                  <a:pt x="203017" y="2768117"/>
                  <a:pt x="0" y="2314667"/>
                  <a:pt x="0" y="1813800"/>
                </a:cubicBezTo>
                <a:cubicBezTo>
                  <a:pt x="0" y="812066"/>
                  <a:pt x="812066" y="0"/>
                  <a:pt x="1813800" y="0"/>
                </a:cubicBezTo>
                <a:close/>
              </a:path>
            </a:pathLst>
          </a:cu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sp>
        <p:nvSpPr>
          <p:cNvPr id="12" name="矩形 9">
            <a:extLst>
              <a:ext uri="{FF2B5EF4-FFF2-40B4-BE49-F238E27FC236}">
                <a16:creationId xmlns:a16="http://schemas.microsoft.com/office/drawing/2014/main" id="{3A67E41C-5D15-44B7-8CFE-552D8D875036}"/>
              </a:ext>
            </a:extLst>
          </p:cNvPr>
          <p:cNvSpPr>
            <a:spLocks noChangeAspect="1"/>
          </p:cNvSpPr>
          <p:nvPr/>
        </p:nvSpPr>
        <p:spPr>
          <a:xfrm>
            <a:off x="9654118" y="4874685"/>
            <a:ext cx="2865967" cy="1983316"/>
          </a:xfrm>
          <a:custGeom>
            <a:avLst/>
            <a:gdLst/>
            <a:ahLst/>
            <a:cxnLst/>
            <a:rect l="l" t="t" r="r" b="b"/>
            <a:pathLst>
              <a:path w="2877698" h="2751668">
                <a:moveTo>
                  <a:pt x="1678954" y="0"/>
                </a:moveTo>
                <a:cubicBezTo>
                  <a:pt x="2135341" y="0"/>
                  <a:pt x="2549196" y="180902"/>
                  <a:pt x="2851827" y="474464"/>
                </a:cubicBezTo>
                <a:lnTo>
                  <a:pt x="2877698" y="502407"/>
                </a:lnTo>
                <a:lnTo>
                  <a:pt x="2877698" y="2751668"/>
                </a:lnTo>
                <a:lnTo>
                  <a:pt x="404217" y="2751668"/>
                </a:lnTo>
                <a:lnTo>
                  <a:pt x="383392" y="2728905"/>
                </a:lnTo>
                <a:cubicBezTo>
                  <a:pt x="143880" y="2440586"/>
                  <a:pt x="0" y="2070955"/>
                  <a:pt x="0" y="1667940"/>
                </a:cubicBezTo>
                <a:cubicBezTo>
                  <a:pt x="0" y="746762"/>
                  <a:pt x="751694" y="0"/>
                  <a:pt x="1678954" y="0"/>
                </a:cubicBezTo>
                <a:close/>
              </a:path>
            </a:pathLst>
          </a:cu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sp>
        <p:nvSpPr>
          <p:cNvPr id="13" name="矩形 6">
            <a:extLst>
              <a:ext uri="{FF2B5EF4-FFF2-40B4-BE49-F238E27FC236}">
                <a16:creationId xmlns:a16="http://schemas.microsoft.com/office/drawing/2014/main" id="{F371A7E9-C45F-4B4C-8254-3AAFBCD7CC11}"/>
              </a:ext>
            </a:extLst>
          </p:cNvPr>
          <p:cNvSpPr>
            <a:spLocks noChangeAspect="1"/>
          </p:cNvSpPr>
          <p:nvPr/>
        </p:nvSpPr>
        <p:spPr>
          <a:xfrm>
            <a:off x="10100734" y="3092452"/>
            <a:ext cx="2080684" cy="2152649"/>
          </a:xfrm>
          <a:custGeom>
            <a:avLst/>
            <a:gdLst/>
            <a:ahLst/>
            <a:cxnLst/>
            <a:rect l="l" t="t" r="r" b="b"/>
            <a:pathLst>
              <a:path w="1333108" h="1966096">
                <a:moveTo>
                  <a:pt x="983048" y="0"/>
                </a:moveTo>
                <a:cubicBezTo>
                  <a:pt x="1084846" y="0"/>
                  <a:pt x="1183030" y="15473"/>
                  <a:pt x="1275376" y="44196"/>
                </a:cubicBezTo>
                <a:lnTo>
                  <a:pt x="1333108" y="65326"/>
                </a:lnTo>
                <a:lnTo>
                  <a:pt x="1333108" y="1900770"/>
                </a:lnTo>
                <a:lnTo>
                  <a:pt x="1275376" y="1921900"/>
                </a:lnTo>
                <a:cubicBezTo>
                  <a:pt x="1183030" y="1950623"/>
                  <a:pt x="1084846" y="1966096"/>
                  <a:pt x="983048" y="1966096"/>
                </a:cubicBezTo>
                <a:cubicBezTo>
                  <a:pt x="440126" y="1966096"/>
                  <a:pt x="0" y="1525970"/>
                  <a:pt x="0" y="983048"/>
                </a:cubicBezTo>
                <a:cubicBezTo>
                  <a:pt x="0" y="440126"/>
                  <a:pt x="440126" y="0"/>
                  <a:pt x="983048" y="0"/>
                </a:cubicBezTo>
                <a:close/>
              </a:path>
            </a:pathLst>
          </a:custGeom>
          <a:solidFill>
            <a:srgbClr val="44BCC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1800"/>
          </a:p>
        </p:txBody>
      </p:sp>
      <p:pic>
        <p:nvPicPr>
          <p:cNvPr id="14" name="圖片 17" descr="20190309_CGE_logo修改.png">
            <a:extLst>
              <a:ext uri="{FF2B5EF4-FFF2-40B4-BE49-F238E27FC236}">
                <a16:creationId xmlns:a16="http://schemas.microsoft.com/office/drawing/2014/main" id="{3A3A01A0-EF09-4767-AB37-108207BB7B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00"/>
          <a:stretch>
            <a:fillRect/>
          </a:stretch>
        </p:blipFill>
        <p:spPr bwMode="auto">
          <a:xfrm>
            <a:off x="10113433" y="5281085"/>
            <a:ext cx="2032000" cy="1399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標題 20"/>
          <p:cNvSpPr>
            <a:spLocks noGrp="1" noChangeAspect="1"/>
          </p:cNvSpPr>
          <p:nvPr>
            <p:ph type="title"/>
          </p:nvPr>
        </p:nvSpPr>
        <p:spPr>
          <a:xfrm>
            <a:off x="1174044" y="3092162"/>
            <a:ext cx="9967416" cy="852487"/>
          </a:xfrm>
        </p:spPr>
        <p:txBody>
          <a:bodyPr>
            <a:normAutofit/>
          </a:bodyPr>
          <a:lstStyle>
            <a:lvl1pPr>
              <a:defRPr sz="4000" b="1">
                <a:latin typeface="+mj-ea"/>
                <a:ea typeface="+mj-ea"/>
              </a:defRPr>
            </a:lvl1pPr>
          </a:lstStyle>
          <a:p>
            <a:r>
              <a:rPr lang="zh-TW" altLang="en-US"/>
              <a:t>按一下以編輯母片標題樣式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82478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風格（二）內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38D1C4EE-9A2A-4D5B-AE23-5EA0422BDED4}"/>
              </a:ext>
            </a:extLst>
          </p:cNvPr>
          <p:cNvSpPr/>
          <p:nvPr userDrawn="1"/>
        </p:nvSpPr>
        <p:spPr>
          <a:xfrm>
            <a:off x="0" y="0"/>
            <a:ext cx="12192000" cy="690033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F5E3D56E-A7CC-4F3E-8410-5689CEEC6AAD}"/>
              </a:ext>
            </a:extLst>
          </p:cNvPr>
          <p:cNvSpPr/>
          <p:nvPr userDrawn="1"/>
        </p:nvSpPr>
        <p:spPr>
          <a:xfrm>
            <a:off x="10833101" y="5524500"/>
            <a:ext cx="1318684" cy="1320800"/>
          </a:xfrm>
          <a:prstGeom prst="ellipse">
            <a:avLst/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6" name="橢圓 5">
            <a:extLst>
              <a:ext uri="{FF2B5EF4-FFF2-40B4-BE49-F238E27FC236}">
                <a16:creationId xmlns:a16="http://schemas.microsoft.com/office/drawing/2014/main" id="{6B21C49E-2A16-4BD6-B706-874EC736391F}"/>
              </a:ext>
            </a:extLst>
          </p:cNvPr>
          <p:cNvSpPr/>
          <p:nvPr/>
        </p:nvSpPr>
        <p:spPr>
          <a:xfrm>
            <a:off x="29634" y="6051551"/>
            <a:ext cx="793751" cy="774700"/>
          </a:xfrm>
          <a:prstGeom prst="ellipse">
            <a:avLst/>
          </a:prstGeom>
          <a:noFill/>
          <a:ln>
            <a:solidFill>
              <a:srgbClr val="6A93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7" name="橢圓 6">
            <a:extLst>
              <a:ext uri="{FF2B5EF4-FFF2-40B4-BE49-F238E27FC236}">
                <a16:creationId xmlns:a16="http://schemas.microsoft.com/office/drawing/2014/main" id="{99749305-CA08-4FB6-94D2-A3F9E3923EBF}"/>
              </a:ext>
            </a:extLst>
          </p:cNvPr>
          <p:cNvSpPr>
            <a:spLocks noChangeAspect="1"/>
          </p:cNvSpPr>
          <p:nvPr/>
        </p:nvSpPr>
        <p:spPr>
          <a:xfrm>
            <a:off x="162985" y="5899151"/>
            <a:ext cx="891116" cy="914400"/>
          </a:xfrm>
          <a:prstGeom prst="ellipse">
            <a:avLst/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8" name="橢圓 7">
            <a:extLst>
              <a:ext uri="{FF2B5EF4-FFF2-40B4-BE49-F238E27FC236}">
                <a16:creationId xmlns:a16="http://schemas.microsoft.com/office/drawing/2014/main" id="{F52B8ACA-0EFF-43CE-B49F-CC6FAF916F9F}"/>
              </a:ext>
            </a:extLst>
          </p:cNvPr>
          <p:cNvSpPr/>
          <p:nvPr/>
        </p:nvSpPr>
        <p:spPr>
          <a:xfrm>
            <a:off x="103717" y="6138334"/>
            <a:ext cx="643467" cy="626533"/>
          </a:xfrm>
          <a:prstGeom prst="ellipse">
            <a:avLst/>
          </a:prstGeom>
          <a:solidFill>
            <a:srgbClr val="81B11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9" name="文字方塊 11">
            <a:extLst>
              <a:ext uri="{FF2B5EF4-FFF2-40B4-BE49-F238E27FC236}">
                <a16:creationId xmlns:a16="http://schemas.microsoft.com/office/drawing/2014/main" id="{43392374-6D65-4B5E-A8D6-74C9CBCC70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0134" y="6303434"/>
            <a:ext cx="18473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kumimoji="1" lang="zh-TW" altLang="en-US" sz="2400">
              <a:solidFill>
                <a:schemeClr val="bg1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0" name="投影片編號版面配置區 5">
            <a:extLst>
              <a:ext uri="{FF2B5EF4-FFF2-40B4-BE49-F238E27FC236}">
                <a16:creationId xmlns:a16="http://schemas.microsoft.com/office/drawing/2014/main" id="{D1B8F664-087F-4482-9379-1DD997C563B9}"/>
              </a:ext>
            </a:extLst>
          </p:cNvPr>
          <p:cNvSpPr txBox="1">
            <a:spLocks/>
          </p:cNvSpPr>
          <p:nvPr userDrawn="1"/>
        </p:nvSpPr>
        <p:spPr>
          <a:xfrm>
            <a:off x="10584" y="6269567"/>
            <a:ext cx="643467" cy="440267"/>
          </a:xfrm>
          <a:prstGeom prst="rect">
            <a:avLst/>
          </a:prstGeom>
        </p:spPr>
        <p:txBody>
          <a:bodyPr anchor="ctr"/>
          <a:lstStyle>
            <a:defPPr>
              <a:defRPr lang="zh-TW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8D3AFE7-F626-4CF0-89B8-77EADEE55A61}" type="slidenum">
              <a:rPr kumimoji="1" lang="zh-TW" altLang="en-US" sz="1600" b="1" smtClean="0">
                <a:solidFill>
                  <a:srgbClr val="FFFFFF"/>
                </a:solidFill>
                <a:latin typeface="Times New Roman" panose="02020603050405020304" pitchFamily="18" charset="0"/>
                <a:ea typeface="標楷體" panose="03000509000000000000" pitchFamily="65" charset="-12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1" lang="zh-TW" altLang="en-US" sz="1600" b="1" dirty="0">
              <a:solidFill>
                <a:srgbClr val="FFFFFF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1" name="拱形 10">
            <a:extLst>
              <a:ext uri="{FF2B5EF4-FFF2-40B4-BE49-F238E27FC236}">
                <a16:creationId xmlns:a16="http://schemas.microsoft.com/office/drawing/2014/main" id="{469AD193-A8E7-40F9-B375-C027D600B675}"/>
              </a:ext>
            </a:extLst>
          </p:cNvPr>
          <p:cNvSpPr/>
          <p:nvPr userDrawn="1"/>
        </p:nvSpPr>
        <p:spPr>
          <a:xfrm rot="16200000">
            <a:off x="11739034" y="6034617"/>
            <a:ext cx="1570567" cy="1371600"/>
          </a:xfrm>
          <a:prstGeom prst="blockArc">
            <a:avLst>
              <a:gd name="adj1" fmla="val 10800000"/>
              <a:gd name="adj2" fmla="val 21244497"/>
              <a:gd name="adj3" fmla="val 0"/>
            </a:avLst>
          </a:prstGeom>
          <a:noFill/>
          <a:ln>
            <a:solidFill>
              <a:srgbClr val="81B11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12" name="橢圓 11">
            <a:extLst>
              <a:ext uri="{FF2B5EF4-FFF2-40B4-BE49-F238E27FC236}">
                <a16:creationId xmlns:a16="http://schemas.microsoft.com/office/drawing/2014/main" id="{14AAA764-8849-4AB7-924C-7CCDD8436041}"/>
              </a:ext>
            </a:extLst>
          </p:cNvPr>
          <p:cNvSpPr/>
          <p:nvPr userDrawn="1"/>
        </p:nvSpPr>
        <p:spPr>
          <a:xfrm>
            <a:off x="10951634" y="5630334"/>
            <a:ext cx="1068917" cy="1068917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pic>
        <p:nvPicPr>
          <p:cNvPr id="13" name="圖片 15" descr="20190309_CGE_logo修改.png">
            <a:extLst>
              <a:ext uri="{FF2B5EF4-FFF2-40B4-BE49-F238E27FC236}">
                <a16:creationId xmlns:a16="http://schemas.microsoft.com/office/drawing/2014/main" id="{B6F69CAC-06A9-49C2-8422-65A1D3BDB326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0930467" y="5939367"/>
            <a:ext cx="1265767" cy="450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026296" y="221182"/>
            <a:ext cx="10307749" cy="852487"/>
          </a:xfrm>
        </p:spPr>
        <p:txBody>
          <a:bodyPr>
            <a:normAutofit/>
          </a:bodyPr>
          <a:lstStyle>
            <a:lvl1pPr>
              <a:defRPr sz="4267" b="1">
                <a:solidFill>
                  <a:schemeClr val="accent6">
                    <a:lumMod val="25000"/>
                  </a:schemeClr>
                </a:solidFill>
                <a:latin typeface="標楷體" panose="03000509000000000000" pitchFamily="65" charset="-120"/>
                <a:ea typeface="標楷體" panose="03000509000000000000" pitchFamily="65" charset="-120"/>
              </a:defRPr>
            </a:lvl1pPr>
          </a:lstStyle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1026297" y="1337244"/>
            <a:ext cx="10307749" cy="405230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14" name="日期版面配置區 3">
            <a:extLst>
              <a:ext uri="{FF2B5EF4-FFF2-40B4-BE49-F238E27FC236}">
                <a16:creationId xmlns:a16="http://schemas.microsoft.com/office/drawing/2014/main" id="{A4D2DED5-1F42-4C5D-B576-80283FB953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76501" y="6390217"/>
            <a:ext cx="1799167" cy="36406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A0410FC-42BE-C34A-A922-A2B0C92F25FA}" type="datetimeFigureOut">
              <a:rPr lang="zh-TW" altLang="en-US"/>
              <a:pPr>
                <a:defRPr/>
              </a:pPr>
              <a:t>2022/12/5</a:t>
            </a:fld>
            <a:endParaRPr lang="zh-TW" altLang="en-US"/>
          </a:p>
        </p:txBody>
      </p:sp>
      <p:sp>
        <p:nvSpPr>
          <p:cNvPr id="15" name="頁尾版面配置區 4">
            <a:extLst>
              <a:ext uri="{FF2B5EF4-FFF2-40B4-BE49-F238E27FC236}">
                <a16:creationId xmlns:a16="http://schemas.microsoft.com/office/drawing/2014/main" id="{70E08AFA-2A61-4155-BFA1-97A614AF0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85268" y="6390217"/>
            <a:ext cx="4423833" cy="364067"/>
          </a:xfrm>
        </p:spPr>
        <p:txBody>
          <a:bodyPr/>
          <a:lstStyle>
            <a:lvl1pPr algn="l">
              <a:defRPr dirty="0"/>
            </a:lvl1pPr>
          </a:lstStyle>
          <a:p>
            <a:pPr>
              <a:defRPr/>
            </a:pP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853490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4524873-6BE5-4879-B50F-EC3ECF1F2BA1}"/>
              </a:ext>
            </a:extLst>
          </p:cNvPr>
          <p:cNvSpPr/>
          <p:nvPr userDrawn="1"/>
        </p:nvSpPr>
        <p:spPr>
          <a:xfrm>
            <a:off x="0" y="0"/>
            <a:ext cx="12192000" cy="1219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9DB7680-BCD7-4C1B-97B4-C82E082C47C2}"/>
              </a:ext>
            </a:extLst>
          </p:cNvPr>
          <p:cNvGrpSpPr/>
          <p:nvPr userDrawn="1"/>
        </p:nvGrpSpPr>
        <p:grpSpPr>
          <a:xfrm>
            <a:off x="623567" y="-9292"/>
            <a:ext cx="2434936" cy="1219200"/>
            <a:chOff x="623567" y="20852"/>
            <a:chExt cx="2434936" cy="12192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0C6E2EE-321A-47CB-9B17-01A6C7F54C53}"/>
                </a:ext>
              </a:extLst>
            </p:cNvPr>
            <p:cNvSpPr/>
            <p:nvPr userDrawn="1"/>
          </p:nvSpPr>
          <p:spPr>
            <a:xfrm>
              <a:off x="1538287" y="20852"/>
              <a:ext cx="704850" cy="1219200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C81EE286-F844-4771-9CFC-94BF60D78565}"/>
                </a:ext>
              </a:extLst>
            </p:cNvPr>
            <p:cNvSpPr/>
            <p:nvPr userDrawn="1"/>
          </p:nvSpPr>
          <p:spPr>
            <a:xfrm>
              <a:off x="2161853" y="284463"/>
              <a:ext cx="552450" cy="9555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19794EC-70B7-4CA7-B86F-B7DD5B250116}"/>
                </a:ext>
              </a:extLst>
            </p:cNvPr>
            <p:cNvSpPr/>
            <p:nvPr userDrawn="1"/>
          </p:nvSpPr>
          <p:spPr>
            <a:xfrm>
              <a:off x="1378101" y="436863"/>
              <a:ext cx="464344" cy="8031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5923C14-7C77-40CC-82DB-9E1F4A7524AB}"/>
                </a:ext>
              </a:extLst>
            </p:cNvPr>
            <p:cNvSpPr/>
            <p:nvPr userDrawn="1"/>
          </p:nvSpPr>
          <p:spPr>
            <a:xfrm>
              <a:off x="745171" y="282011"/>
              <a:ext cx="553868" cy="958041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35BE877-79E4-493D-8CCE-9682FE0748AA}"/>
                </a:ext>
              </a:extLst>
            </p:cNvPr>
            <p:cNvSpPr/>
            <p:nvPr userDrawn="1"/>
          </p:nvSpPr>
          <p:spPr>
            <a:xfrm>
              <a:off x="623567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92FD92A-CC13-4DFD-A85C-8CE910B21828}"/>
                </a:ext>
              </a:extLst>
            </p:cNvPr>
            <p:cNvSpPr/>
            <p:nvPr userDrawn="1"/>
          </p:nvSpPr>
          <p:spPr>
            <a:xfrm>
              <a:off x="1235073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C05787A-C43E-453A-BE07-3D337B74A2E0}"/>
                </a:ext>
              </a:extLst>
            </p:cNvPr>
            <p:cNvSpPr/>
            <p:nvPr userDrawn="1"/>
          </p:nvSpPr>
          <p:spPr>
            <a:xfrm>
              <a:off x="2674902" y="576526"/>
              <a:ext cx="383601" cy="663526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9A36D23-48BD-4BA3-8545-A3920D835DF4}"/>
              </a:ext>
            </a:extLst>
          </p:cNvPr>
          <p:cNvGrpSpPr/>
          <p:nvPr userDrawn="1"/>
        </p:nvGrpSpPr>
        <p:grpSpPr>
          <a:xfrm flipH="1">
            <a:off x="9757064" y="5636999"/>
            <a:ext cx="2434936" cy="1240052"/>
            <a:chOff x="328292" y="0"/>
            <a:chExt cx="2434936" cy="1240052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222CDA6-66B0-4261-8AAB-F61537EBC5C1}"/>
                </a:ext>
              </a:extLst>
            </p:cNvPr>
            <p:cNvSpPr/>
            <p:nvPr userDrawn="1"/>
          </p:nvSpPr>
          <p:spPr>
            <a:xfrm>
              <a:off x="1243012" y="0"/>
              <a:ext cx="704850" cy="1219200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9E29A8A-7472-4C7B-B2D8-F2CA911113E6}"/>
                </a:ext>
              </a:extLst>
            </p:cNvPr>
            <p:cNvSpPr/>
            <p:nvPr userDrawn="1"/>
          </p:nvSpPr>
          <p:spPr>
            <a:xfrm>
              <a:off x="1866578" y="263611"/>
              <a:ext cx="552450" cy="9555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BF2D5BA9-02F0-4EBF-8047-65342716CF01}"/>
                </a:ext>
              </a:extLst>
            </p:cNvPr>
            <p:cNvSpPr/>
            <p:nvPr userDrawn="1"/>
          </p:nvSpPr>
          <p:spPr>
            <a:xfrm>
              <a:off x="1082826" y="422492"/>
              <a:ext cx="464344" cy="803189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4CD11AB-8BFB-424D-B3CC-4FEB6AB5C821}"/>
                </a:ext>
              </a:extLst>
            </p:cNvPr>
            <p:cNvSpPr/>
            <p:nvPr userDrawn="1"/>
          </p:nvSpPr>
          <p:spPr>
            <a:xfrm>
              <a:off x="449896" y="280904"/>
              <a:ext cx="553868" cy="958041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B82DE08-397D-4848-B109-C55EEF52BDA4}"/>
                </a:ext>
              </a:extLst>
            </p:cNvPr>
            <p:cNvSpPr/>
            <p:nvPr userDrawn="1"/>
          </p:nvSpPr>
          <p:spPr>
            <a:xfrm>
              <a:off x="328292" y="609600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9598C0A-7EE6-4767-B149-6F044CB9FD7B}"/>
                </a:ext>
              </a:extLst>
            </p:cNvPr>
            <p:cNvSpPr/>
            <p:nvPr userDrawn="1"/>
          </p:nvSpPr>
          <p:spPr>
            <a:xfrm>
              <a:off x="939798" y="608493"/>
              <a:ext cx="364480" cy="630452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4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36E712-C4F3-4B0A-8585-2B8D1DBCB0CC}"/>
                </a:ext>
              </a:extLst>
            </p:cNvPr>
            <p:cNvSpPr/>
            <p:nvPr userDrawn="1"/>
          </p:nvSpPr>
          <p:spPr>
            <a:xfrm>
              <a:off x="2379627" y="555674"/>
              <a:ext cx="383601" cy="663526"/>
            </a:xfrm>
            <a:custGeom>
              <a:avLst/>
              <a:gdLst>
                <a:gd name="connsiteX0" fmla="*/ 6081 w 704850"/>
                <a:gd name="connsiteY0" fmla="*/ 522 h 1219200"/>
                <a:gd name="connsiteX1" fmla="*/ 32074 w 704850"/>
                <a:gd name="connsiteY1" fmla="*/ 13452 h 1219200"/>
                <a:gd name="connsiteX2" fmla="*/ 371186 w 704850"/>
                <a:gd name="connsiteY2" fmla="*/ 291913 h 1219200"/>
                <a:gd name="connsiteX3" fmla="*/ 478491 w 704850"/>
                <a:gd name="connsiteY3" fmla="*/ 386822 h 1219200"/>
                <a:gd name="connsiteX4" fmla="*/ 492887 w 704850"/>
                <a:gd name="connsiteY4" fmla="*/ 396152 h 1219200"/>
                <a:gd name="connsiteX5" fmla="*/ 508350 w 704850"/>
                <a:gd name="connsiteY5" fmla="*/ 389888 h 1219200"/>
                <a:gd name="connsiteX6" fmla="*/ 519414 w 704850"/>
                <a:gd name="connsiteY6" fmla="*/ 366294 h 1219200"/>
                <a:gd name="connsiteX7" fmla="*/ 543541 w 704850"/>
                <a:gd name="connsiteY7" fmla="*/ 335901 h 1219200"/>
                <a:gd name="connsiteX8" fmla="*/ 675506 w 704850"/>
                <a:gd name="connsiteY8" fmla="*/ 228196 h 1219200"/>
                <a:gd name="connsiteX9" fmla="*/ 698168 w 704850"/>
                <a:gd name="connsiteY9" fmla="*/ 210601 h 1219200"/>
                <a:gd name="connsiteX10" fmla="*/ 704833 w 704850"/>
                <a:gd name="connsiteY10" fmla="*/ 214067 h 1219200"/>
                <a:gd name="connsiteX11" fmla="*/ 699367 w 704850"/>
                <a:gd name="connsiteY11" fmla="*/ 227930 h 1219200"/>
                <a:gd name="connsiteX12" fmla="*/ 664576 w 704850"/>
                <a:gd name="connsiteY12" fmla="*/ 269652 h 1219200"/>
                <a:gd name="connsiteX13" fmla="*/ 535144 w 704850"/>
                <a:gd name="connsiteY13" fmla="*/ 412548 h 1219200"/>
                <a:gd name="connsiteX14" fmla="*/ 531411 w 704850"/>
                <a:gd name="connsiteY14" fmla="*/ 424145 h 1219200"/>
                <a:gd name="connsiteX15" fmla="*/ 525679 w 704850"/>
                <a:gd name="connsiteY15" fmla="*/ 438408 h 1219200"/>
                <a:gd name="connsiteX16" fmla="*/ 523280 w 704850"/>
                <a:gd name="connsiteY16" fmla="*/ 451738 h 1219200"/>
                <a:gd name="connsiteX17" fmla="*/ 544341 w 704850"/>
                <a:gd name="connsiteY17" fmla="*/ 534516 h 1219200"/>
                <a:gd name="connsiteX18" fmla="*/ 588862 w 704850"/>
                <a:gd name="connsiteY18" fmla="*/ 671814 h 1219200"/>
                <a:gd name="connsiteX19" fmla="*/ 640982 w 704850"/>
                <a:gd name="connsiteY19" fmla="*/ 849234 h 1219200"/>
                <a:gd name="connsiteX20" fmla="*/ 688436 w 704850"/>
                <a:gd name="connsiteY20" fmla="*/ 1041451 h 1219200"/>
                <a:gd name="connsiteX21" fmla="*/ 692836 w 704850"/>
                <a:gd name="connsiteY21" fmla="*/ 1068777 h 1219200"/>
                <a:gd name="connsiteX22" fmla="*/ 691902 w 704850"/>
                <a:gd name="connsiteY22" fmla="*/ 1072776 h 1219200"/>
                <a:gd name="connsiteX23" fmla="*/ 688970 w 704850"/>
                <a:gd name="connsiteY23" fmla="*/ 1069844 h 1219200"/>
                <a:gd name="connsiteX24" fmla="*/ 674440 w 704850"/>
                <a:gd name="connsiteY24" fmla="*/ 1027455 h 1219200"/>
                <a:gd name="connsiteX25" fmla="*/ 584463 w 704850"/>
                <a:gd name="connsiteY25" fmla="*/ 724200 h 1219200"/>
                <a:gd name="connsiteX26" fmla="*/ 500886 w 704850"/>
                <a:gd name="connsiteY26" fmla="*/ 489595 h 1219200"/>
                <a:gd name="connsiteX27" fmla="*/ 492354 w 704850"/>
                <a:gd name="connsiteY27" fmla="*/ 470000 h 1219200"/>
                <a:gd name="connsiteX28" fmla="*/ 482090 w 704850"/>
                <a:gd name="connsiteY28" fmla="*/ 460802 h 1219200"/>
                <a:gd name="connsiteX29" fmla="*/ 476092 w 704850"/>
                <a:gd name="connsiteY29" fmla="*/ 471999 h 1219200"/>
                <a:gd name="connsiteX30" fmla="*/ 475292 w 704850"/>
                <a:gd name="connsiteY30" fmla="*/ 495460 h 1219200"/>
                <a:gd name="connsiteX31" fmla="*/ 474505 w 704850"/>
                <a:gd name="connsiteY31" fmla="*/ 1219200 h 1219200"/>
                <a:gd name="connsiteX32" fmla="*/ 407041 w 704850"/>
                <a:gd name="connsiteY32" fmla="*/ 1219200 h 1219200"/>
                <a:gd name="connsiteX33" fmla="*/ 409382 w 704850"/>
                <a:gd name="connsiteY33" fmla="*/ 1154457 h 1219200"/>
                <a:gd name="connsiteX34" fmla="*/ 434503 w 704850"/>
                <a:gd name="connsiteY34" fmla="*/ 499459 h 1219200"/>
                <a:gd name="connsiteX35" fmla="*/ 423306 w 704850"/>
                <a:gd name="connsiteY35" fmla="*/ 490661 h 1219200"/>
                <a:gd name="connsiteX36" fmla="*/ 380117 w 704850"/>
                <a:gd name="connsiteY36" fmla="*/ 479731 h 1219200"/>
                <a:gd name="connsiteX37" fmla="*/ 377317 w 704850"/>
                <a:gd name="connsiteY37" fmla="*/ 473199 h 1219200"/>
                <a:gd name="connsiteX38" fmla="*/ 379584 w 704850"/>
                <a:gd name="connsiteY38" fmla="*/ 459469 h 1219200"/>
                <a:gd name="connsiteX39" fmla="*/ 392380 w 704850"/>
                <a:gd name="connsiteY39" fmla="*/ 423612 h 1219200"/>
                <a:gd name="connsiteX40" fmla="*/ 407577 w 704850"/>
                <a:gd name="connsiteY40" fmla="*/ 416281 h 1219200"/>
                <a:gd name="connsiteX41" fmla="*/ 423839 w 704850"/>
                <a:gd name="connsiteY41" fmla="*/ 426411 h 1219200"/>
                <a:gd name="connsiteX42" fmla="*/ 430771 w 704850"/>
                <a:gd name="connsiteY42" fmla="*/ 427744 h 1219200"/>
                <a:gd name="connsiteX43" fmla="*/ 454498 w 704850"/>
                <a:gd name="connsiteY43" fmla="*/ 419880 h 1219200"/>
                <a:gd name="connsiteX44" fmla="*/ 455564 w 704850"/>
                <a:gd name="connsiteY44" fmla="*/ 414681 h 1219200"/>
                <a:gd name="connsiteX45" fmla="*/ 438368 w 704850"/>
                <a:gd name="connsiteY45" fmla="*/ 402018 h 1219200"/>
                <a:gd name="connsiteX46" fmla="*/ 362921 w 704850"/>
                <a:gd name="connsiteY46" fmla="*/ 341233 h 1219200"/>
                <a:gd name="connsiteX47" fmla="*/ 212294 w 704850"/>
                <a:gd name="connsiteY47" fmla="*/ 191672 h 1219200"/>
                <a:gd name="connsiteX48" fmla="*/ 15811 w 704850"/>
                <a:gd name="connsiteY48" fmla="*/ 18917 h 1219200"/>
                <a:gd name="connsiteX49" fmla="*/ 2215 w 704850"/>
                <a:gd name="connsiteY49" fmla="*/ 6654 h 1219200"/>
                <a:gd name="connsiteX50" fmla="*/ 348 w 704850"/>
                <a:gd name="connsiteY50" fmla="*/ 1589 h 1219200"/>
                <a:gd name="connsiteX51" fmla="*/ 6081 w 704850"/>
                <a:gd name="connsiteY51" fmla="*/ 522 h 121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704850" h="1219200">
                  <a:moveTo>
                    <a:pt x="6081" y="522"/>
                  </a:moveTo>
                  <a:cubicBezTo>
                    <a:pt x="15678" y="2921"/>
                    <a:pt x="24342" y="7587"/>
                    <a:pt x="32074" y="13452"/>
                  </a:cubicBezTo>
                  <a:cubicBezTo>
                    <a:pt x="148043" y="102495"/>
                    <a:pt x="262281" y="194072"/>
                    <a:pt x="371186" y="291913"/>
                  </a:cubicBezTo>
                  <a:cubicBezTo>
                    <a:pt x="406643" y="323905"/>
                    <a:pt x="442634" y="355230"/>
                    <a:pt x="478491" y="386822"/>
                  </a:cubicBezTo>
                  <a:cubicBezTo>
                    <a:pt x="482757" y="390687"/>
                    <a:pt x="487555" y="393887"/>
                    <a:pt x="492887" y="396152"/>
                  </a:cubicBezTo>
                  <a:cubicBezTo>
                    <a:pt x="500618" y="399352"/>
                    <a:pt x="505151" y="397752"/>
                    <a:pt x="508350" y="389888"/>
                  </a:cubicBezTo>
                  <a:cubicBezTo>
                    <a:pt x="511682" y="381890"/>
                    <a:pt x="515815" y="374158"/>
                    <a:pt x="519414" y="366294"/>
                  </a:cubicBezTo>
                  <a:cubicBezTo>
                    <a:pt x="525012" y="354163"/>
                    <a:pt x="533677" y="344700"/>
                    <a:pt x="543541" y="335901"/>
                  </a:cubicBezTo>
                  <a:cubicBezTo>
                    <a:pt x="585797" y="297912"/>
                    <a:pt x="630985" y="263520"/>
                    <a:pt x="675506" y="228196"/>
                  </a:cubicBezTo>
                  <a:cubicBezTo>
                    <a:pt x="682971" y="222198"/>
                    <a:pt x="690436" y="216199"/>
                    <a:pt x="698168" y="210601"/>
                  </a:cubicBezTo>
                  <a:cubicBezTo>
                    <a:pt x="702700" y="207268"/>
                    <a:pt x="704566" y="208468"/>
                    <a:pt x="704833" y="214067"/>
                  </a:cubicBezTo>
                  <a:cubicBezTo>
                    <a:pt x="705099" y="219532"/>
                    <a:pt x="702300" y="223797"/>
                    <a:pt x="699367" y="227930"/>
                  </a:cubicBezTo>
                  <a:cubicBezTo>
                    <a:pt x="688836" y="242726"/>
                    <a:pt x="676307" y="255922"/>
                    <a:pt x="664576" y="269652"/>
                  </a:cubicBezTo>
                  <a:cubicBezTo>
                    <a:pt x="622854" y="318573"/>
                    <a:pt x="580598" y="366960"/>
                    <a:pt x="535144" y="412548"/>
                  </a:cubicBezTo>
                  <a:cubicBezTo>
                    <a:pt x="531677" y="416014"/>
                    <a:pt x="532344" y="420280"/>
                    <a:pt x="531411" y="424145"/>
                  </a:cubicBezTo>
                  <a:cubicBezTo>
                    <a:pt x="530345" y="429344"/>
                    <a:pt x="529145" y="434276"/>
                    <a:pt x="525679" y="438408"/>
                  </a:cubicBezTo>
                  <a:cubicBezTo>
                    <a:pt x="522346" y="442274"/>
                    <a:pt x="522346" y="447073"/>
                    <a:pt x="523280" y="451738"/>
                  </a:cubicBezTo>
                  <a:cubicBezTo>
                    <a:pt x="528878" y="479731"/>
                    <a:pt x="537143" y="506924"/>
                    <a:pt x="544341" y="534516"/>
                  </a:cubicBezTo>
                  <a:cubicBezTo>
                    <a:pt x="556338" y="581171"/>
                    <a:pt x="573133" y="626359"/>
                    <a:pt x="588862" y="671814"/>
                  </a:cubicBezTo>
                  <a:cubicBezTo>
                    <a:pt x="609124" y="730066"/>
                    <a:pt x="623920" y="790050"/>
                    <a:pt x="640982" y="849234"/>
                  </a:cubicBezTo>
                  <a:cubicBezTo>
                    <a:pt x="659244" y="912684"/>
                    <a:pt x="674307" y="976935"/>
                    <a:pt x="688436" y="1041451"/>
                  </a:cubicBezTo>
                  <a:cubicBezTo>
                    <a:pt x="690436" y="1050382"/>
                    <a:pt x="691370" y="1059580"/>
                    <a:pt x="692836" y="1068777"/>
                  </a:cubicBezTo>
                  <a:cubicBezTo>
                    <a:pt x="693102" y="1070244"/>
                    <a:pt x="694035" y="1072243"/>
                    <a:pt x="691902" y="1072776"/>
                  </a:cubicBezTo>
                  <a:cubicBezTo>
                    <a:pt x="689903" y="1073310"/>
                    <a:pt x="689503" y="1071310"/>
                    <a:pt x="688970" y="1069844"/>
                  </a:cubicBezTo>
                  <a:cubicBezTo>
                    <a:pt x="683638" y="1055847"/>
                    <a:pt x="678440" y="1041851"/>
                    <a:pt x="674440" y="1027455"/>
                  </a:cubicBezTo>
                  <a:cubicBezTo>
                    <a:pt x="646314" y="925882"/>
                    <a:pt x="616189" y="824841"/>
                    <a:pt x="584463" y="724200"/>
                  </a:cubicBezTo>
                  <a:cubicBezTo>
                    <a:pt x="559404" y="645021"/>
                    <a:pt x="532877" y="566375"/>
                    <a:pt x="500886" y="489595"/>
                  </a:cubicBezTo>
                  <a:cubicBezTo>
                    <a:pt x="498086" y="483063"/>
                    <a:pt x="495287" y="476532"/>
                    <a:pt x="492354" y="470000"/>
                  </a:cubicBezTo>
                  <a:cubicBezTo>
                    <a:pt x="490222" y="465468"/>
                    <a:pt x="486889" y="460136"/>
                    <a:pt x="482090" y="460802"/>
                  </a:cubicBezTo>
                  <a:cubicBezTo>
                    <a:pt x="478092" y="461335"/>
                    <a:pt x="477158" y="467867"/>
                    <a:pt x="476092" y="471999"/>
                  </a:cubicBezTo>
                  <a:cubicBezTo>
                    <a:pt x="474225" y="479731"/>
                    <a:pt x="474892" y="487595"/>
                    <a:pt x="475292" y="495460"/>
                  </a:cubicBezTo>
                  <a:lnTo>
                    <a:pt x="474505" y="1219200"/>
                  </a:lnTo>
                  <a:lnTo>
                    <a:pt x="407041" y="1219200"/>
                  </a:lnTo>
                  <a:lnTo>
                    <a:pt x="409382" y="1154457"/>
                  </a:lnTo>
                  <a:cubicBezTo>
                    <a:pt x="419288" y="881913"/>
                    <a:pt x="429424" y="609994"/>
                    <a:pt x="434503" y="499459"/>
                  </a:cubicBezTo>
                  <a:cubicBezTo>
                    <a:pt x="435169" y="487595"/>
                    <a:pt x="434236" y="486129"/>
                    <a:pt x="423306" y="490661"/>
                  </a:cubicBezTo>
                  <a:cubicBezTo>
                    <a:pt x="405710" y="497992"/>
                    <a:pt x="393313" y="487995"/>
                    <a:pt x="380117" y="479731"/>
                  </a:cubicBezTo>
                  <a:cubicBezTo>
                    <a:pt x="378117" y="478398"/>
                    <a:pt x="377584" y="475732"/>
                    <a:pt x="377317" y="473199"/>
                  </a:cubicBezTo>
                  <a:cubicBezTo>
                    <a:pt x="376918" y="468400"/>
                    <a:pt x="377850" y="463735"/>
                    <a:pt x="379584" y="459469"/>
                  </a:cubicBezTo>
                  <a:cubicBezTo>
                    <a:pt x="384516" y="447739"/>
                    <a:pt x="388248" y="435609"/>
                    <a:pt x="392380" y="423612"/>
                  </a:cubicBezTo>
                  <a:cubicBezTo>
                    <a:pt x="394913" y="416281"/>
                    <a:pt x="400112" y="413881"/>
                    <a:pt x="407577" y="416281"/>
                  </a:cubicBezTo>
                  <a:cubicBezTo>
                    <a:pt x="413841" y="418147"/>
                    <a:pt x="418907" y="422412"/>
                    <a:pt x="423839" y="426411"/>
                  </a:cubicBezTo>
                  <a:cubicBezTo>
                    <a:pt x="426105" y="428145"/>
                    <a:pt x="427837" y="428811"/>
                    <a:pt x="430771" y="427744"/>
                  </a:cubicBezTo>
                  <a:cubicBezTo>
                    <a:pt x="438635" y="424811"/>
                    <a:pt x="446500" y="422279"/>
                    <a:pt x="454498" y="419880"/>
                  </a:cubicBezTo>
                  <a:cubicBezTo>
                    <a:pt x="458629" y="418680"/>
                    <a:pt x="457830" y="417080"/>
                    <a:pt x="455564" y="414681"/>
                  </a:cubicBezTo>
                  <a:cubicBezTo>
                    <a:pt x="450498" y="409482"/>
                    <a:pt x="444500" y="405617"/>
                    <a:pt x="438368" y="402018"/>
                  </a:cubicBezTo>
                  <a:cubicBezTo>
                    <a:pt x="410243" y="385488"/>
                    <a:pt x="385448" y="364694"/>
                    <a:pt x="362921" y="341233"/>
                  </a:cubicBezTo>
                  <a:cubicBezTo>
                    <a:pt x="314001" y="290180"/>
                    <a:pt x="263881" y="240193"/>
                    <a:pt x="212294" y="191672"/>
                  </a:cubicBezTo>
                  <a:cubicBezTo>
                    <a:pt x="148977" y="131821"/>
                    <a:pt x="81661" y="76102"/>
                    <a:pt x="15811" y="18917"/>
                  </a:cubicBezTo>
                  <a:cubicBezTo>
                    <a:pt x="11146" y="14919"/>
                    <a:pt x="6747" y="10786"/>
                    <a:pt x="2215" y="6654"/>
                  </a:cubicBezTo>
                  <a:cubicBezTo>
                    <a:pt x="882" y="5321"/>
                    <a:pt x="-718" y="3588"/>
                    <a:pt x="348" y="1589"/>
                  </a:cubicBezTo>
                  <a:cubicBezTo>
                    <a:pt x="1548" y="-678"/>
                    <a:pt x="4081" y="-11"/>
                    <a:pt x="6081" y="522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60000"/>
              </a:schemeClr>
            </a:solidFill>
            <a:ln w="2261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 sz="2400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758FE55-F2E3-411E-B08B-7BB726147569}"/>
              </a:ext>
            </a:extLst>
          </p:cNvPr>
          <p:cNvSpPr/>
          <p:nvPr userDrawn="1"/>
        </p:nvSpPr>
        <p:spPr>
          <a:xfrm>
            <a:off x="1" y="6359792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8BD529C-F177-4014-858A-48426744683D}"/>
              </a:ext>
            </a:extLst>
          </p:cNvPr>
          <p:cNvSpPr/>
          <p:nvPr userDrawn="1"/>
        </p:nvSpPr>
        <p:spPr>
          <a:xfrm>
            <a:off x="1" y="6512192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9A4EDC-BC81-48B2-A5D1-5C42D2143CB0}"/>
              </a:ext>
            </a:extLst>
          </p:cNvPr>
          <p:cNvSpPr/>
          <p:nvPr userDrawn="1"/>
        </p:nvSpPr>
        <p:spPr>
          <a:xfrm>
            <a:off x="1" y="6664592"/>
            <a:ext cx="9325299" cy="568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53442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A48100C-351A-D947-9B0C-9922D4AA1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5C34108A-744E-1A49-8415-EAE6F44568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7DAF107C-15EE-384A-8264-62D55D88C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ED0CB-F971-C74B-B65B-71B5C9E613F2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0328C2EA-88B0-6043-A3A5-A1A139328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486EDC46-D44A-7245-856A-63197F03F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6C31F9-B880-5D45-B0A0-A13AF864A968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40181123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741414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字方塊 6">
            <a:extLst>
              <a:ext uri="{FF2B5EF4-FFF2-40B4-BE49-F238E27FC236}">
                <a16:creationId xmlns:a16="http://schemas.microsoft.com/office/drawing/2014/main" id="{698A6E46-2BC8-455B-BEF5-863758B987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58667" y="6180667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4" name="文字方塊 7">
            <a:extLst>
              <a:ext uri="{FF2B5EF4-FFF2-40B4-BE49-F238E27FC236}">
                <a16:creationId xmlns:a16="http://schemas.microsoft.com/office/drawing/2014/main" id="{E3037B47-647B-4374-93D6-F584F6AD24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955617" y="6083300"/>
            <a:ext cx="338666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endParaRPr lang="zh-TW" altLang="en-US" sz="1600">
              <a:solidFill>
                <a:srgbClr val="808080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  <p:sp>
        <p:nvSpPr>
          <p:cNvPr id="5" name="橢圓 4">
            <a:extLst>
              <a:ext uri="{FF2B5EF4-FFF2-40B4-BE49-F238E27FC236}">
                <a16:creationId xmlns:a16="http://schemas.microsoft.com/office/drawing/2014/main" id="{345B31E6-0D0A-4F58-8F4F-CB1FF4EB2F01}"/>
              </a:ext>
            </a:extLst>
          </p:cNvPr>
          <p:cNvSpPr/>
          <p:nvPr userDrawn="1"/>
        </p:nvSpPr>
        <p:spPr>
          <a:xfrm>
            <a:off x="11203518" y="6199718"/>
            <a:ext cx="893233" cy="696383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kumimoji="1" lang="zh-TW" altLang="en-US" sz="2400" dirty="0"/>
          </a:p>
        </p:txBody>
      </p:sp>
      <p:pic>
        <p:nvPicPr>
          <p:cNvPr id="6" name="圖片 9" descr="20190309_CGE_logo修改.png">
            <a:extLst>
              <a:ext uri="{FF2B5EF4-FFF2-40B4-BE49-F238E27FC236}">
                <a16:creationId xmlns:a16="http://schemas.microsoft.com/office/drawing/2014/main" id="{F11BBEA9-932D-4DC0-9E9C-DC0F4A6D9A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00" t="11852" r="52563" b="46375"/>
          <a:stretch>
            <a:fillRect/>
          </a:stretch>
        </p:blipFill>
        <p:spPr bwMode="auto">
          <a:xfrm>
            <a:off x="11076517" y="6400800"/>
            <a:ext cx="1115483" cy="298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007435" y="2708922"/>
            <a:ext cx="10363200" cy="1470025"/>
          </a:xfrm>
        </p:spPr>
        <p:txBody>
          <a:bodyPr>
            <a:normAutofit/>
          </a:bodyPr>
          <a:lstStyle>
            <a:lvl1pPr algn="ctr">
              <a:defRPr sz="3200" b="1">
                <a:solidFill>
                  <a:srgbClr val="000080"/>
                </a:solidFill>
                <a:latin typeface="Times New Roman"/>
                <a:ea typeface="標楷體"/>
              </a:defRPr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7" name="頁尾版面配置區 4">
            <a:extLst>
              <a:ext uri="{FF2B5EF4-FFF2-40B4-BE49-F238E27FC236}">
                <a16:creationId xmlns:a16="http://schemas.microsoft.com/office/drawing/2014/main" id="{A46125E8-FA40-49B9-8BDD-107BC7D86D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8" name="投影片編號版面配置區 5">
            <a:extLst>
              <a:ext uri="{FF2B5EF4-FFF2-40B4-BE49-F238E27FC236}">
                <a16:creationId xmlns:a16="http://schemas.microsoft.com/office/drawing/2014/main" id="{7AA0031A-1D69-4684-8911-6692FB6C4A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373785" y="6449485"/>
            <a:ext cx="1773767" cy="366183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C04484C3-A492-4928-BEB5-C181BFBE75BB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3468379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5838489" y="6644381"/>
            <a:ext cx="523387" cy="313011"/>
          </a:xfrm>
          <a:prstGeom prst="rect">
            <a:avLst/>
          </a:prstGeom>
        </p:spPr>
        <p:txBody>
          <a:bodyPr/>
          <a:lstStyle>
            <a:lvl1pPr algn="ctr">
              <a:defRPr sz="1051">
                <a:solidFill>
                  <a:srgbClr val="FFFFFF"/>
                </a:solidFill>
              </a:defRPr>
            </a:lvl1pPr>
          </a:lstStyle>
          <a:p>
            <a:fld id="{8F4EACC7-37E3-43A5-A5FB-BEB9CE95D266}" type="slidenum">
              <a:rPr lang="zh-TW" altLang="en-US" smtClean="0"/>
              <a:pPr/>
              <a:t>‹#›</a:t>
            </a:fld>
            <a:endParaRPr lang="zh-TW" altLang="en-US"/>
          </a:p>
        </p:txBody>
      </p:sp>
      <p:sp>
        <p:nvSpPr>
          <p:cNvPr id="5" name="標題版面配置區 1"/>
          <p:cNvSpPr>
            <a:spLocks noGrp="1"/>
          </p:cNvSpPr>
          <p:nvPr>
            <p:ph type="title"/>
          </p:nvPr>
        </p:nvSpPr>
        <p:spPr bwMode="ltGray">
          <a:xfrm>
            <a:off x="778487" y="0"/>
            <a:ext cx="10635028" cy="7647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微軟正黑體" panose="020B0604030504040204" pitchFamily="34" charset="-120"/>
                <a:ea typeface="微軟正黑體" panose="020B0604030504040204" pitchFamily="34" charset="-120"/>
              </a:defRPr>
            </a:lvl1pPr>
          </a:lstStyle>
          <a:p>
            <a:pPr lvl="0"/>
            <a:r>
              <a:rPr lang="zh-TW" altLang="en-US"/>
              <a:t>按一下以編輯母片標題樣式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851599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內容版面配置區 2"/>
          <p:cNvSpPr>
            <a:spLocks noGrp="1"/>
          </p:cNvSpPr>
          <p:nvPr>
            <p:ph idx="1"/>
          </p:nvPr>
        </p:nvSpPr>
        <p:spPr>
          <a:xfrm>
            <a:off x="609599" y="1600204"/>
            <a:ext cx="11377164" cy="4892675"/>
          </a:xfrm>
        </p:spPr>
        <p:txBody>
          <a:bodyPr/>
          <a:lstStyle>
            <a:lvl1pPr marL="182558" indent="-182558">
              <a:spcBef>
                <a:spcPts val="300"/>
              </a:spcBef>
              <a:defRPr/>
            </a:lvl1pPr>
            <a:lvl2pPr marL="355591" indent="-173034">
              <a:spcBef>
                <a:spcPts val="300"/>
              </a:spcBef>
              <a:defRPr>
                <a:solidFill>
                  <a:schemeClr val="bg1"/>
                </a:solidFill>
              </a:defRPr>
            </a:lvl2pPr>
            <a:lvl3pPr marL="536561" indent="-228594">
              <a:spcBef>
                <a:spcPts val="300"/>
              </a:spcBef>
              <a:defRPr>
                <a:solidFill>
                  <a:srgbClr val="00FFFF"/>
                </a:solidFill>
              </a:defRPr>
            </a:lvl3pPr>
            <a:lvl4pPr marL="725470" indent="-228594">
              <a:spcBef>
                <a:spcPts val="300"/>
              </a:spcBef>
              <a:defRPr/>
            </a:lvl4pPr>
            <a:lvl5pPr marL="892152" indent="-228594">
              <a:spcBef>
                <a:spcPts val="300"/>
              </a:spcBef>
              <a:defRPr>
                <a:solidFill>
                  <a:srgbClr val="00FF00"/>
                </a:solidFill>
              </a:defRPr>
            </a:lvl5pPr>
          </a:lstStyle>
          <a:p>
            <a:pPr lvl="0"/>
            <a:r>
              <a:rPr lang="zh-TW" altLang="en-US" dirty="0"/>
              <a:t>按一下以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</a:p>
        </p:txBody>
      </p:sp>
      <p:sp>
        <p:nvSpPr>
          <p:cNvPr id="8" name="標題版面配置區 1"/>
          <p:cNvSpPr>
            <a:spLocks noGrp="1"/>
          </p:cNvSpPr>
          <p:nvPr>
            <p:ph type="title"/>
          </p:nvPr>
        </p:nvSpPr>
        <p:spPr>
          <a:xfrm>
            <a:off x="1811216" y="152636"/>
            <a:ext cx="10380784" cy="1143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zh-TW" altLang="en-US" dirty="0"/>
              <a:t>按一下以編輯母片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8B21E773-C08B-4866-AA61-4E3A65F543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8000" y="6534151"/>
            <a:ext cx="2540000" cy="262467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E6DA3BFE-C9C9-4A94-B42D-038DDEBEB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6183"/>
          </a:xfrm>
        </p:spPr>
        <p:txBody>
          <a:bodyPr/>
          <a:lstStyle>
            <a:lvl1pPr>
              <a:defRPr kumimoji="0"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DA436C78-26B4-490F-9008-28F17F1BE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0"/>
            </a:lvl1pPr>
          </a:lstStyle>
          <a:p>
            <a:pPr>
              <a:defRPr/>
            </a:pPr>
            <a:fld id="{BA4A5684-DDA4-4476-847B-39A511AA9685}" type="slidenum">
              <a:rPr lang="zh-TW" altLang="en-US"/>
              <a:pPr>
                <a:defRPr/>
              </a:pPr>
              <a:t>‹#›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8490292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節分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19">
            <a:extLst>
              <a:ext uri="{FF2B5EF4-FFF2-40B4-BE49-F238E27FC236}">
                <a16:creationId xmlns:a16="http://schemas.microsoft.com/office/drawing/2014/main" id="{C3E58903-1F44-4D78-B5E8-85BB91DAB5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295469" y="2708920"/>
            <a:ext cx="9601067" cy="1440160"/>
          </a:xfrm>
          <a:prstGeom prst="roundRect">
            <a:avLst>
              <a:gd name="adj" fmla="val 29167"/>
            </a:avLst>
          </a:prstGeom>
          <a:solidFill>
            <a:srgbClr val="B9D9BB"/>
          </a:solidFill>
          <a:ln w="9525">
            <a:solidFill>
              <a:srgbClr val="77A978"/>
            </a:solidFill>
            <a:round/>
            <a:headEnd/>
            <a:tailEnd/>
          </a:ln>
          <a:effectLst>
            <a:reflection blurRad="6350" stA="50000" endA="300" endPos="38500" dist="50800" dir="5400000" sy="-100000" algn="bl" rotWithShape="0"/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1500">
              <a:latin typeface="+mn-lt"/>
              <a:ea typeface="+mn-ea"/>
            </a:endParaRPr>
          </a:p>
        </p:txBody>
      </p:sp>
      <p:sp>
        <p:nvSpPr>
          <p:cNvPr id="7" name="文字版面配置區 6"/>
          <p:cNvSpPr>
            <a:spLocks noGrp="1"/>
          </p:cNvSpPr>
          <p:nvPr>
            <p:ph type="body" sz="quarter" idx="10"/>
          </p:nvPr>
        </p:nvSpPr>
        <p:spPr>
          <a:xfrm>
            <a:off x="1583501" y="2852937"/>
            <a:ext cx="9025003" cy="115212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/>
            </a:lvl1pPr>
            <a:lvl2pPr marL="342882" indent="0">
              <a:buNone/>
              <a:defRPr/>
            </a:lvl2pPr>
            <a:lvl5pPr marL="0" indent="0" algn="ctr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5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投影片編號版面配置區 41">
            <a:extLst>
              <a:ext uri="{FF2B5EF4-FFF2-40B4-BE49-F238E27FC236}">
                <a16:creationId xmlns:a16="http://schemas.microsoft.com/office/drawing/2014/main" id="{5ABA0185-D94D-421F-B858-7C2ACE07BB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64952" y="6481234"/>
            <a:ext cx="527049" cy="376767"/>
          </a:xfrm>
        </p:spPr>
        <p:txBody>
          <a:bodyPr/>
          <a:lstStyle>
            <a:lvl1pPr algn="ctr">
              <a:defRPr kumimoji="0" sz="1200" b="1" smtClean="0">
                <a:cs typeface="Arial" pitchFamily="34" charset="0"/>
              </a:defRPr>
            </a:lvl1pPr>
          </a:lstStyle>
          <a:p>
            <a:pPr>
              <a:defRPr/>
            </a:pPr>
            <a:fld id="{AA661AE6-32E0-4D9A-8B9E-05894A0EDE4A}" type="slidenum">
              <a:rPr lang="en-US" altLang="zh-TW"/>
              <a:pPr>
                <a:defRPr/>
              </a:pPr>
              <a:t>‹#›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148519252"/>
      </p:ext>
    </p:extLst>
  </p:cSld>
  <p:clrMapOvr>
    <a:masterClrMapping/>
  </p:clrMapOvr>
  <p:transition spd="slow">
    <p:cover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0B052934-BE2C-4392-BEE4-3B11DDF9B971}"/>
              </a:ext>
            </a:extLst>
          </p:cNvPr>
          <p:cNvSpPr/>
          <p:nvPr userDrawn="1"/>
        </p:nvSpPr>
        <p:spPr>
          <a:xfrm>
            <a:off x="0" y="1530855"/>
            <a:ext cx="7293428" cy="3796290"/>
          </a:xfrm>
          <a:custGeom>
            <a:avLst/>
            <a:gdLst>
              <a:gd name="connsiteX0" fmla="*/ 0 w 7293428"/>
              <a:gd name="connsiteY0" fmla="*/ 0 h 3796290"/>
              <a:gd name="connsiteX1" fmla="*/ 903514 w 7293428"/>
              <a:gd name="connsiteY1" fmla="*/ 0 h 3796290"/>
              <a:gd name="connsiteX2" fmla="*/ 958022 w 7293428"/>
              <a:gd name="connsiteY2" fmla="*/ 0 h 3796290"/>
              <a:gd name="connsiteX3" fmla="*/ 1861536 w 7293428"/>
              <a:gd name="connsiteY3" fmla="*/ 0 h 3796290"/>
              <a:gd name="connsiteX4" fmla="*/ 1869538 w 7293428"/>
              <a:gd name="connsiteY4" fmla="*/ 0 h 3796290"/>
              <a:gd name="connsiteX5" fmla="*/ 2773052 w 7293428"/>
              <a:gd name="connsiteY5" fmla="*/ 0 h 3796290"/>
              <a:gd name="connsiteX6" fmla="*/ 6389914 w 7293428"/>
              <a:gd name="connsiteY6" fmla="*/ 0 h 3796290"/>
              <a:gd name="connsiteX7" fmla="*/ 7293428 w 7293428"/>
              <a:gd name="connsiteY7" fmla="*/ 0 h 3796290"/>
              <a:gd name="connsiteX8" fmla="*/ 6335407 w 7293428"/>
              <a:gd name="connsiteY8" fmla="*/ 3796290 h 3796290"/>
              <a:gd name="connsiteX9" fmla="*/ 5431893 w 7293428"/>
              <a:gd name="connsiteY9" fmla="*/ 3796290 h 3796290"/>
              <a:gd name="connsiteX10" fmla="*/ 2773052 w 7293428"/>
              <a:gd name="connsiteY10" fmla="*/ 3796290 h 3796290"/>
              <a:gd name="connsiteX11" fmla="*/ 1869538 w 7293428"/>
              <a:gd name="connsiteY11" fmla="*/ 3796290 h 3796290"/>
              <a:gd name="connsiteX12" fmla="*/ 903514 w 7293428"/>
              <a:gd name="connsiteY12" fmla="*/ 3796290 h 3796290"/>
              <a:gd name="connsiteX13" fmla="*/ 0 w 7293428"/>
              <a:gd name="connsiteY13" fmla="*/ 3796290 h 3796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93428" h="3796290">
                <a:moveTo>
                  <a:pt x="0" y="0"/>
                </a:moveTo>
                <a:lnTo>
                  <a:pt x="903514" y="0"/>
                </a:lnTo>
                <a:lnTo>
                  <a:pt x="958022" y="0"/>
                </a:lnTo>
                <a:lnTo>
                  <a:pt x="1861536" y="0"/>
                </a:lnTo>
                <a:lnTo>
                  <a:pt x="1869538" y="0"/>
                </a:lnTo>
                <a:lnTo>
                  <a:pt x="2773052" y="0"/>
                </a:lnTo>
                <a:lnTo>
                  <a:pt x="6389914" y="0"/>
                </a:lnTo>
                <a:lnTo>
                  <a:pt x="7293428" y="0"/>
                </a:lnTo>
                <a:lnTo>
                  <a:pt x="6335407" y="3796290"/>
                </a:lnTo>
                <a:lnTo>
                  <a:pt x="5431893" y="3796290"/>
                </a:lnTo>
                <a:lnTo>
                  <a:pt x="2773052" y="3796290"/>
                </a:lnTo>
                <a:lnTo>
                  <a:pt x="1869538" y="3796290"/>
                </a:lnTo>
                <a:lnTo>
                  <a:pt x="903514" y="3796290"/>
                </a:lnTo>
                <a:lnTo>
                  <a:pt x="0" y="3796290"/>
                </a:lnTo>
                <a:close/>
              </a:path>
            </a:pathLst>
          </a:custGeom>
          <a:blipFill>
            <a:blip r:embed="rId2"/>
            <a:stretch>
              <a:fillRect t="-4047" b="-4020"/>
            </a:stretch>
          </a:blip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2331792F-DA9B-4FCA-B1EA-C8D1074CF80D}"/>
              </a:ext>
            </a:extLst>
          </p:cNvPr>
          <p:cNvSpPr/>
          <p:nvPr userDrawn="1"/>
        </p:nvSpPr>
        <p:spPr>
          <a:xfrm>
            <a:off x="6096000" y="2429619"/>
            <a:ext cx="6095998" cy="1998762"/>
          </a:xfrm>
          <a:custGeom>
            <a:avLst/>
            <a:gdLst>
              <a:gd name="connsiteX0" fmla="*/ 499691 w 6741721"/>
              <a:gd name="connsiteY0" fmla="*/ 0 h 1998762"/>
              <a:gd name="connsiteX1" fmla="*/ 4120904 w 6741721"/>
              <a:gd name="connsiteY1" fmla="*/ 0 h 1998762"/>
              <a:gd name="connsiteX2" fmla="*/ 5264399 w 6741721"/>
              <a:gd name="connsiteY2" fmla="*/ 0 h 1998762"/>
              <a:gd name="connsiteX3" fmla="*/ 6741721 w 6741721"/>
              <a:gd name="connsiteY3" fmla="*/ 0 h 1998762"/>
              <a:gd name="connsiteX4" fmla="*/ 6741721 w 6741721"/>
              <a:gd name="connsiteY4" fmla="*/ 1998762 h 1998762"/>
              <a:gd name="connsiteX5" fmla="*/ 4764709 w 6741721"/>
              <a:gd name="connsiteY5" fmla="*/ 1998762 h 1998762"/>
              <a:gd name="connsiteX6" fmla="*/ 4120904 w 6741721"/>
              <a:gd name="connsiteY6" fmla="*/ 1998762 h 1998762"/>
              <a:gd name="connsiteX7" fmla="*/ 0 w 6741721"/>
              <a:gd name="connsiteY7" fmla="*/ 1998762 h 199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1721" h="1998762">
                <a:moveTo>
                  <a:pt x="499691" y="0"/>
                </a:moveTo>
                <a:lnTo>
                  <a:pt x="4120904" y="0"/>
                </a:lnTo>
                <a:lnTo>
                  <a:pt x="5264399" y="0"/>
                </a:lnTo>
                <a:lnTo>
                  <a:pt x="6741721" y="0"/>
                </a:lnTo>
                <a:lnTo>
                  <a:pt x="6741721" y="1998762"/>
                </a:lnTo>
                <a:lnTo>
                  <a:pt x="4764709" y="1998762"/>
                </a:lnTo>
                <a:lnTo>
                  <a:pt x="4120904" y="1998762"/>
                </a:lnTo>
                <a:lnTo>
                  <a:pt x="0" y="1998762"/>
                </a:lnTo>
                <a:close/>
              </a:path>
            </a:pathLst>
          </a:custGeom>
          <a:solidFill>
            <a:schemeClr val="accent4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096000" y="2491021"/>
            <a:ext cx="5294811" cy="1326351"/>
          </a:xfrm>
        </p:spPr>
        <p:txBody>
          <a:bodyPr anchor="ctr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526540" y="5503639"/>
            <a:ext cx="4787174" cy="298776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526540" y="5799910"/>
            <a:ext cx="4787174" cy="298776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071163" y="3817372"/>
            <a:ext cx="5319648" cy="558799"/>
          </a:xfrm>
        </p:spPr>
        <p:txBody>
          <a:bodyPr anchor="ctr">
            <a:normAutofit/>
          </a:bodyPr>
          <a:lstStyle>
            <a:lvl1pPr marL="0" indent="0" algn="r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12CF37B3-92CE-45DC-A2BD-DAB31A0969AF}"/>
              </a:ext>
            </a:extLst>
          </p:cNvPr>
          <p:cNvSpPr/>
          <p:nvPr userDrawn="1"/>
        </p:nvSpPr>
        <p:spPr>
          <a:xfrm flipH="1" flipV="1">
            <a:off x="1" y="5481176"/>
            <a:ext cx="1419763" cy="569306"/>
          </a:xfrm>
          <a:custGeom>
            <a:avLst/>
            <a:gdLst>
              <a:gd name="connsiteX0" fmla="*/ 1419763 w 1419763"/>
              <a:gd name="connsiteY0" fmla="*/ 569306 h 569306"/>
              <a:gd name="connsiteX1" fmla="*/ 856652 w 1419763"/>
              <a:gd name="connsiteY1" fmla="*/ 569306 h 569306"/>
              <a:gd name="connsiteX2" fmla="*/ 673277 w 1419763"/>
              <a:gd name="connsiteY2" fmla="*/ 569306 h 569306"/>
              <a:gd name="connsiteX3" fmla="*/ 0 w 1419763"/>
              <a:gd name="connsiteY3" fmla="*/ 569306 h 569306"/>
              <a:gd name="connsiteX4" fmla="*/ 142327 w 1419763"/>
              <a:gd name="connsiteY4" fmla="*/ 0 h 569306"/>
              <a:gd name="connsiteX5" fmla="*/ 673277 w 1419763"/>
              <a:gd name="connsiteY5" fmla="*/ 0 h 569306"/>
              <a:gd name="connsiteX6" fmla="*/ 998978 w 1419763"/>
              <a:gd name="connsiteY6" fmla="*/ 0 h 569306"/>
              <a:gd name="connsiteX7" fmla="*/ 1419763 w 1419763"/>
              <a:gd name="connsiteY7" fmla="*/ 0 h 569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9763" h="569306">
                <a:moveTo>
                  <a:pt x="1419763" y="569306"/>
                </a:moveTo>
                <a:lnTo>
                  <a:pt x="856652" y="569306"/>
                </a:lnTo>
                <a:lnTo>
                  <a:pt x="673277" y="569306"/>
                </a:lnTo>
                <a:lnTo>
                  <a:pt x="0" y="569306"/>
                </a:lnTo>
                <a:lnTo>
                  <a:pt x="142327" y="0"/>
                </a:lnTo>
                <a:lnTo>
                  <a:pt x="673277" y="0"/>
                </a:lnTo>
                <a:lnTo>
                  <a:pt x="998978" y="0"/>
                </a:lnTo>
                <a:lnTo>
                  <a:pt x="1419763" y="0"/>
                </a:lnTo>
                <a:close/>
              </a:path>
            </a:pathLst>
          </a:custGeom>
          <a:solidFill>
            <a:schemeClr val="accent4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20139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C5F4CA89-E5A9-43E9-B903-E03C6822DFCC}"/>
              </a:ext>
            </a:extLst>
          </p:cNvPr>
          <p:cNvSpPr/>
          <p:nvPr userDrawn="1"/>
        </p:nvSpPr>
        <p:spPr>
          <a:xfrm>
            <a:off x="0" y="0"/>
            <a:ext cx="12191998" cy="6909368"/>
          </a:xfrm>
          <a:prstGeom prst="rect">
            <a:avLst/>
          </a:prstGeom>
          <a:blipFill>
            <a:blip r:embed="rId2">
              <a:grayscl/>
            </a:blip>
            <a:stretch>
              <a:fillRect l="-374" r="-374"/>
            </a:stretch>
          </a:blipFill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79EA058A-A632-4834-9495-F653D02FE2FC}"/>
              </a:ext>
            </a:extLst>
          </p:cNvPr>
          <p:cNvSpPr/>
          <p:nvPr userDrawn="1"/>
        </p:nvSpPr>
        <p:spPr>
          <a:xfrm>
            <a:off x="0" y="0"/>
            <a:ext cx="12191998" cy="6909368"/>
          </a:xfrm>
          <a:prstGeom prst="rect">
            <a:avLst/>
          </a:prstGeom>
          <a:gradFill>
            <a:gsLst>
              <a:gs pos="0">
                <a:schemeClr val="bg1">
                  <a:alpha val="9800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任意多边形: 形状 4">
            <a:extLst>
              <a:ext uri="{FF2B5EF4-FFF2-40B4-BE49-F238E27FC236}">
                <a16:creationId xmlns:a16="http://schemas.microsoft.com/office/drawing/2014/main" id="{69F834DD-B3CA-47B4-8501-AFBE49E629A4}"/>
              </a:ext>
            </a:extLst>
          </p:cNvPr>
          <p:cNvSpPr/>
          <p:nvPr userDrawn="1"/>
        </p:nvSpPr>
        <p:spPr>
          <a:xfrm>
            <a:off x="5450277" y="2429619"/>
            <a:ext cx="6741721" cy="1998762"/>
          </a:xfrm>
          <a:custGeom>
            <a:avLst/>
            <a:gdLst>
              <a:gd name="connsiteX0" fmla="*/ 499691 w 6741721"/>
              <a:gd name="connsiteY0" fmla="*/ 0 h 1998762"/>
              <a:gd name="connsiteX1" fmla="*/ 4120904 w 6741721"/>
              <a:gd name="connsiteY1" fmla="*/ 0 h 1998762"/>
              <a:gd name="connsiteX2" fmla="*/ 5264399 w 6741721"/>
              <a:gd name="connsiteY2" fmla="*/ 0 h 1998762"/>
              <a:gd name="connsiteX3" fmla="*/ 6741721 w 6741721"/>
              <a:gd name="connsiteY3" fmla="*/ 0 h 1998762"/>
              <a:gd name="connsiteX4" fmla="*/ 6741721 w 6741721"/>
              <a:gd name="connsiteY4" fmla="*/ 1998762 h 1998762"/>
              <a:gd name="connsiteX5" fmla="*/ 4764709 w 6741721"/>
              <a:gd name="connsiteY5" fmla="*/ 1998762 h 1998762"/>
              <a:gd name="connsiteX6" fmla="*/ 4120904 w 6741721"/>
              <a:gd name="connsiteY6" fmla="*/ 1998762 h 1998762"/>
              <a:gd name="connsiteX7" fmla="*/ 0 w 6741721"/>
              <a:gd name="connsiteY7" fmla="*/ 1998762 h 1998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1721" h="1998762">
                <a:moveTo>
                  <a:pt x="499691" y="0"/>
                </a:moveTo>
                <a:lnTo>
                  <a:pt x="4120904" y="0"/>
                </a:lnTo>
                <a:lnTo>
                  <a:pt x="5264399" y="0"/>
                </a:lnTo>
                <a:lnTo>
                  <a:pt x="6741721" y="0"/>
                </a:lnTo>
                <a:lnTo>
                  <a:pt x="6741721" y="1998762"/>
                </a:lnTo>
                <a:lnTo>
                  <a:pt x="4764709" y="1998762"/>
                </a:lnTo>
                <a:lnTo>
                  <a:pt x="4120904" y="1998762"/>
                </a:lnTo>
                <a:lnTo>
                  <a:pt x="0" y="1998762"/>
                </a:lnTo>
                <a:close/>
              </a:path>
            </a:pathLst>
          </a:custGeom>
          <a:solidFill>
            <a:schemeClr val="accent4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74766" y="2517408"/>
            <a:ext cx="4788597" cy="895350"/>
          </a:xfrm>
        </p:spPr>
        <p:txBody>
          <a:bodyPr anchor="b">
            <a:normAutofit/>
          </a:bodyPr>
          <a:lstStyle>
            <a:lvl1pPr algn="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75882" y="3412758"/>
            <a:ext cx="4788597" cy="1015623"/>
          </a:xfrm>
        </p:spPr>
        <p:txBody>
          <a:bodyPr anchor="t">
            <a:normAutofit/>
          </a:bodyPr>
          <a:lstStyle>
            <a:lvl1pPr marL="0" indent="0" algn="r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7013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3754973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65182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7456" y="6651619"/>
            <a:ext cx="424543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407677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F28C6CEA-2446-4327-8A60-C798CBFAC9C9}"/>
              </a:ext>
            </a:extLst>
          </p:cNvPr>
          <p:cNvSpPr/>
          <p:nvPr userDrawn="1"/>
        </p:nvSpPr>
        <p:spPr>
          <a:xfrm>
            <a:off x="8987" y="-25684"/>
            <a:ext cx="12174026" cy="6909368"/>
          </a:xfrm>
          <a:prstGeom prst="rect">
            <a:avLst/>
          </a:prstGeom>
          <a:blipFill>
            <a:blip r:embed="rId2">
              <a:grayscl/>
            </a:blip>
            <a:stretch>
              <a:fillRect l="-374" r="-374"/>
            </a:stretch>
          </a:blipFill>
          <a:ln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46C4764-613E-4689-BAD7-1ED68F3CC8AE}"/>
              </a:ext>
            </a:extLst>
          </p:cNvPr>
          <p:cNvSpPr/>
          <p:nvPr userDrawn="1"/>
        </p:nvSpPr>
        <p:spPr>
          <a:xfrm>
            <a:off x="-8985" y="-25684"/>
            <a:ext cx="12191998" cy="6909368"/>
          </a:xfrm>
          <a:prstGeom prst="rect">
            <a:avLst/>
          </a:prstGeom>
          <a:gradFill>
            <a:gsLst>
              <a:gs pos="0">
                <a:schemeClr val="bg1">
                  <a:alpha val="98000"/>
                </a:schemeClr>
              </a:gs>
              <a:gs pos="100000">
                <a:schemeClr val="bg1">
                  <a:alpha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486759" y="1807491"/>
            <a:ext cx="5974443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86759" y="4564063"/>
            <a:ext cx="597444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86761" y="4267792"/>
            <a:ext cx="59744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646018D-27F7-43F1-B1EA-155EBA6925B6}"/>
              </a:ext>
            </a:extLst>
          </p:cNvPr>
          <p:cNvSpPr/>
          <p:nvPr userDrawn="1"/>
        </p:nvSpPr>
        <p:spPr>
          <a:xfrm>
            <a:off x="10772235" y="3606982"/>
            <a:ext cx="1419763" cy="569306"/>
          </a:xfrm>
          <a:custGeom>
            <a:avLst/>
            <a:gdLst>
              <a:gd name="connsiteX0" fmla="*/ 1419763 w 1419763"/>
              <a:gd name="connsiteY0" fmla="*/ 569306 h 569306"/>
              <a:gd name="connsiteX1" fmla="*/ 856652 w 1419763"/>
              <a:gd name="connsiteY1" fmla="*/ 569306 h 569306"/>
              <a:gd name="connsiteX2" fmla="*/ 673277 w 1419763"/>
              <a:gd name="connsiteY2" fmla="*/ 569306 h 569306"/>
              <a:gd name="connsiteX3" fmla="*/ 0 w 1419763"/>
              <a:gd name="connsiteY3" fmla="*/ 569306 h 569306"/>
              <a:gd name="connsiteX4" fmla="*/ 142327 w 1419763"/>
              <a:gd name="connsiteY4" fmla="*/ 0 h 569306"/>
              <a:gd name="connsiteX5" fmla="*/ 673277 w 1419763"/>
              <a:gd name="connsiteY5" fmla="*/ 0 h 569306"/>
              <a:gd name="connsiteX6" fmla="*/ 998978 w 1419763"/>
              <a:gd name="connsiteY6" fmla="*/ 0 h 569306"/>
              <a:gd name="connsiteX7" fmla="*/ 1419763 w 1419763"/>
              <a:gd name="connsiteY7" fmla="*/ 0 h 569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19763" h="569306">
                <a:moveTo>
                  <a:pt x="1419763" y="569306"/>
                </a:moveTo>
                <a:lnTo>
                  <a:pt x="856652" y="569306"/>
                </a:lnTo>
                <a:lnTo>
                  <a:pt x="673277" y="569306"/>
                </a:lnTo>
                <a:lnTo>
                  <a:pt x="0" y="569306"/>
                </a:lnTo>
                <a:lnTo>
                  <a:pt x="142327" y="0"/>
                </a:lnTo>
                <a:lnTo>
                  <a:pt x="673277" y="0"/>
                </a:lnTo>
                <a:lnTo>
                  <a:pt x="998978" y="0"/>
                </a:lnTo>
                <a:lnTo>
                  <a:pt x="1419763" y="0"/>
                </a:lnTo>
                <a:close/>
              </a:path>
            </a:pathLst>
          </a:custGeom>
          <a:solidFill>
            <a:schemeClr val="accent4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45415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風格（一）">
    <p:bg>
      <p:bgPr>
        <a:gradFill flip="none" rotWithShape="1">
          <a:gsLst>
            <a:gs pos="14000">
              <a:srgbClr val="4DD1D5"/>
            </a:gs>
            <a:gs pos="100000">
              <a:schemeClr val="bg2">
                <a:lumMod val="5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橢圓 10"/>
          <p:cNvSpPr>
            <a:spLocks noChangeAspect="1"/>
          </p:cNvSpPr>
          <p:nvPr/>
        </p:nvSpPr>
        <p:spPr>
          <a:xfrm>
            <a:off x="5937631" y="2662983"/>
            <a:ext cx="912000" cy="700796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14" name="橢圓 13"/>
          <p:cNvSpPr>
            <a:spLocks noChangeAspect="1"/>
          </p:cNvSpPr>
          <p:nvPr/>
        </p:nvSpPr>
        <p:spPr>
          <a:xfrm>
            <a:off x="0" y="344399"/>
            <a:ext cx="2322016" cy="2377104"/>
          </a:xfrm>
          <a:custGeom>
            <a:avLst/>
            <a:gdLst/>
            <a:ahLst/>
            <a:cxnLst/>
            <a:rect l="l" t="t" r="r" b="b"/>
            <a:pathLst>
              <a:path w="1486900" h="2189942">
                <a:moveTo>
                  <a:pt x="391929" y="0"/>
                </a:moveTo>
                <a:cubicBezTo>
                  <a:pt x="996665" y="0"/>
                  <a:pt x="1486900" y="490235"/>
                  <a:pt x="1486900" y="1094971"/>
                </a:cubicBezTo>
                <a:cubicBezTo>
                  <a:pt x="1486900" y="1699707"/>
                  <a:pt x="996665" y="2189942"/>
                  <a:pt x="391929" y="2189942"/>
                </a:cubicBezTo>
                <a:cubicBezTo>
                  <a:pt x="278541" y="2189942"/>
                  <a:pt x="169178" y="2172707"/>
                  <a:pt x="66318" y="2140714"/>
                </a:cubicBezTo>
                <a:lnTo>
                  <a:pt x="0" y="2116442"/>
                </a:lnTo>
                <a:lnTo>
                  <a:pt x="0" y="73500"/>
                </a:lnTo>
                <a:lnTo>
                  <a:pt x="66318" y="49228"/>
                </a:lnTo>
                <a:cubicBezTo>
                  <a:pt x="169178" y="17235"/>
                  <a:pt x="278541" y="0"/>
                  <a:pt x="391929" y="0"/>
                </a:cubicBezTo>
                <a:close/>
              </a:path>
            </a:pathLst>
          </a:cu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15" name="橢圓 14"/>
          <p:cNvSpPr>
            <a:spLocks noChangeAspect="1"/>
          </p:cNvSpPr>
          <p:nvPr/>
        </p:nvSpPr>
        <p:spPr>
          <a:xfrm>
            <a:off x="6668877" y="653346"/>
            <a:ext cx="1584000" cy="1217175"/>
          </a:xfrm>
          <a:prstGeom prst="ellipse">
            <a:avLst/>
          </a:prstGeom>
          <a:solidFill>
            <a:srgbClr val="FFFFFF">
              <a:alpha val="7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16" name="橢圓 15"/>
          <p:cNvSpPr>
            <a:spLocks noChangeAspect="1"/>
          </p:cNvSpPr>
          <p:nvPr/>
        </p:nvSpPr>
        <p:spPr>
          <a:xfrm>
            <a:off x="2155324" y="895547"/>
            <a:ext cx="2208000" cy="1696668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17" name="橢圓 16"/>
          <p:cNvSpPr>
            <a:spLocks noChangeAspect="1"/>
          </p:cNvSpPr>
          <p:nvPr/>
        </p:nvSpPr>
        <p:spPr>
          <a:xfrm>
            <a:off x="3342352" y="1433877"/>
            <a:ext cx="1728000" cy="1327827"/>
          </a:xfrm>
          <a:prstGeom prst="ellipse">
            <a:avLst/>
          </a:prstGeom>
          <a:solidFill>
            <a:schemeClr val="tx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18" name="文字方塊 17"/>
          <p:cNvSpPr txBox="1">
            <a:spLocks noChangeAspect="1"/>
          </p:cNvSpPr>
          <p:nvPr/>
        </p:nvSpPr>
        <p:spPr>
          <a:xfrm>
            <a:off x="2641097" y="1034085"/>
            <a:ext cx="288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54"/>
            <a:r>
              <a:rPr lang="zh-TW" altLang="en-US" sz="1800" dirty="0">
                <a:solidFill>
                  <a:srgbClr val="ED7D31">
                    <a:lumMod val="75000"/>
                  </a:srgbClr>
                </a:solidFill>
                <a:latin typeface="Heiti TC Light"/>
                <a:ea typeface="Heiti TC Light"/>
                <a:cs typeface="Heiti TC Light"/>
              </a:rPr>
              <a:t> </a:t>
            </a:r>
            <a:endParaRPr kumimoji="1" lang="zh-TW" altLang="en-US" sz="1800" dirty="0">
              <a:solidFill>
                <a:srgbClr val="ED7D31">
                  <a:lumMod val="75000"/>
                </a:srgbClr>
              </a:solidFill>
              <a:latin typeface="Heiti TC Light"/>
              <a:ea typeface="Heiti TC Light"/>
              <a:cs typeface="Heiti TC Light"/>
            </a:endParaRPr>
          </a:p>
        </p:txBody>
      </p:sp>
      <p:sp>
        <p:nvSpPr>
          <p:cNvPr id="19" name="橢圓 18"/>
          <p:cNvSpPr>
            <a:spLocks noChangeAspect="1"/>
          </p:cNvSpPr>
          <p:nvPr/>
        </p:nvSpPr>
        <p:spPr>
          <a:xfrm>
            <a:off x="3645644" y="4884584"/>
            <a:ext cx="1632000" cy="1254057"/>
          </a:xfrm>
          <a:prstGeom prst="ellipse">
            <a:avLst/>
          </a:prstGeom>
          <a:solidFill>
            <a:srgbClr val="44BC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20" name="橢圓 19"/>
          <p:cNvSpPr>
            <a:spLocks noChangeAspect="1"/>
          </p:cNvSpPr>
          <p:nvPr/>
        </p:nvSpPr>
        <p:spPr>
          <a:xfrm>
            <a:off x="7711443" y="769570"/>
            <a:ext cx="2208000" cy="1696668"/>
          </a:xfrm>
          <a:prstGeom prst="ellipse">
            <a:avLst/>
          </a:pr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 dirty="0">
              <a:solidFill>
                <a:prstClr val="white"/>
              </a:solidFill>
            </a:endParaRPr>
          </a:p>
        </p:txBody>
      </p:sp>
      <p:sp>
        <p:nvSpPr>
          <p:cNvPr id="6" name="矩形 5"/>
          <p:cNvSpPr>
            <a:spLocks noChangeAspect="1"/>
          </p:cNvSpPr>
          <p:nvPr/>
        </p:nvSpPr>
        <p:spPr>
          <a:xfrm>
            <a:off x="9307288" y="4600684"/>
            <a:ext cx="3257013" cy="2263675"/>
          </a:xfrm>
          <a:custGeom>
            <a:avLst/>
            <a:gdLst/>
            <a:ahLst/>
            <a:cxnLst/>
            <a:rect l="l" t="t" r="r" b="b"/>
            <a:pathLst>
              <a:path w="3261266" h="3130406">
                <a:moveTo>
                  <a:pt x="1813800" y="0"/>
                </a:moveTo>
                <a:cubicBezTo>
                  <a:pt x="2377276" y="0"/>
                  <a:pt x="2880739" y="256943"/>
                  <a:pt x="3213416" y="660055"/>
                </a:cubicBezTo>
                <a:lnTo>
                  <a:pt x="3261266" y="724043"/>
                </a:lnTo>
                <a:lnTo>
                  <a:pt x="3261266" y="2903557"/>
                </a:lnTo>
                <a:lnTo>
                  <a:pt x="3213416" y="2967545"/>
                </a:lnTo>
                <a:cubicBezTo>
                  <a:pt x="3176452" y="3012336"/>
                  <a:pt x="3137379" y="3055321"/>
                  <a:pt x="3096350" y="3096351"/>
                </a:cubicBezTo>
                <a:lnTo>
                  <a:pt x="3058880" y="3130406"/>
                </a:lnTo>
                <a:lnTo>
                  <a:pt x="568721" y="3130406"/>
                </a:lnTo>
                <a:lnTo>
                  <a:pt x="531250" y="3096351"/>
                </a:lnTo>
                <a:cubicBezTo>
                  <a:pt x="203017" y="2768117"/>
                  <a:pt x="0" y="2314667"/>
                  <a:pt x="0" y="1813800"/>
                </a:cubicBezTo>
                <a:cubicBezTo>
                  <a:pt x="0" y="812066"/>
                  <a:pt x="812066" y="0"/>
                  <a:pt x="1813800" y="0"/>
                </a:cubicBezTo>
                <a:close/>
              </a:path>
            </a:pathLst>
          </a:custGeom>
          <a:noFill/>
          <a:ln>
            <a:solidFill>
              <a:srgbClr val="359599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>
              <a:solidFill>
                <a:prstClr val="white"/>
              </a:solidFill>
            </a:endParaRPr>
          </a:p>
        </p:txBody>
      </p:sp>
      <p:sp>
        <p:nvSpPr>
          <p:cNvPr id="10" name="矩形 9"/>
          <p:cNvSpPr>
            <a:spLocks/>
          </p:cNvSpPr>
          <p:nvPr/>
        </p:nvSpPr>
        <p:spPr>
          <a:xfrm>
            <a:off x="9684277" y="4676265"/>
            <a:ext cx="2520000" cy="2196000"/>
          </a:xfrm>
          <a:custGeom>
            <a:avLst/>
            <a:gdLst/>
            <a:ahLst/>
            <a:cxnLst/>
            <a:rect l="l" t="t" r="r" b="b"/>
            <a:pathLst>
              <a:path w="2877698" h="2751668">
                <a:moveTo>
                  <a:pt x="1678954" y="0"/>
                </a:moveTo>
                <a:cubicBezTo>
                  <a:pt x="2135341" y="0"/>
                  <a:pt x="2549196" y="180902"/>
                  <a:pt x="2851827" y="474464"/>
                </a:cubicBezTo>
                <a:lnTo>
                  <a:pt x="2877698" y="502407"/>
                </a:lnTo>
                <a:lnTo>
                  <a:pt x="2877698" y="2751668"/>
                </a:lnTo>
                <a:lnTo>
                  <a:pt x="404217" y="2751668"/>
                </a:lnTo>
                <a:lnTo>
                  <a:pt x="383392" y="2728905"/>
                </a:lnTo>
                <a:cubicBezTo>
                  <a:pt x="143880" y="2440586"/>
                  <a:pt x="0" y="2070955"/>
                  <a:pt x="0" y="1667940"/>
                </a:cubicBezTo>
                <a:cubicBezTo>
                  <a:pt x="0" y="746762"/>
                  <a:pt x="751694" y="0"/>
                  <a:pt x="1678954" y="0"/>
                </a:cubicBezTo>
                <a:close/>
              </a:path>
            </a:pathLst>
          </a:custGeom>
          <a:solidFill>
            <a:srgbClr val="FFFFFF">
              <a:alpha val="93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>
              <a:solidFill>
                <a:prstClr val="white"/>
              </a:solidFill>
            </a:endParaRPr>
          </a:p>
        </p:txBody>
      </p:sp>
      <p:sp>
        <p:nvSpPr>
          <p:cNvPr id="7" name="矩形 6"/>
          <p:cNvSpPr>
            <a:spLocks noChangeAspect="1"/>
          </p:cNvSpPr>
          <p:nvPr/>
        </p:nvSpPr>
        <p:spPr>
          <a:xfrm>
            <a:off x="10100536" y="3092165"/>
            <a:ext cx="2081848" cy="2151905"/>
          </a:xfrm>
          <a:custGeom>
            <a:avLst/>
            <a:gdLst/>
            <a:ahLst/>
            <a:cxnLst/>
            <a:rect l="l" t="t" r="r" b="b"/>
            <a:pathLst>
              <a:path w="1333108" h="1966096">
                <a:moveTo>
                  <a:pt x="983048" y="0"/>
                </a:moveTo>
                <a:cubicBezTo>
                  <a:pt x="1084846" y="0"/>
                  <a:pt x="1183030" y="15473"/>
                  <a:pt x="1275376" y="44196"/>
                </a:cubicBezTo>
                <a:lnTo>
                  <a:pt x="1333108" y="65326"/>
                </a:lnTo>
                <a:lnTo>
                  <a:pt x="1333108" y="1900770"/>
                </a:lnTo>
                <a:lnTo>
                  <a:pt x="1275376" y="1921900"/>
                </a:lnTo>
                <a:cubicBezTo>
                  <a:pt x="1183030" y="1950623"/>
                  <a:pt x="1084846" y="1966096"/>
                  <a:pt x="983048" y="1966096"/>
                </a:cubicBezTo>
                <a:cubicBezTo>
                  <a:pt x="440126" y="1966096"/>
                  <a:pt x="0" y="1525970"/>
                  <a:pt x="0" y="983048"/>
                </a:cubicBezTo>
                <a:cubicBezTo>
                  <a:pt x="0" y="440126"/>
                  <a:pt x="440126" y="0"/>
                  <a:pt x="983048" y="0"/>
                </a:cubicBezTo>
                <a:close/>
              </a:path>
            </a:pathLst>
          </a:custGeom>
          <a:solidFill>
            <a:srgbClr val="44BCC0">
              <a:alpha val="6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kumimoji="1" lang="zh-TW" altLang="en-US" sz="1800">
              <a:solidFill>
                <a:prstClr val="white"/>
              </a:solidFill>
            </a:endParaRPr>
          </a:p>
        </p:txBody>
      </p:sp>
      <p:sp>
        <p:nvSpPr>
          <p:cNvPr id="21" name="標題 20"/>
          <p:cNvSpPr>
            <a:spLocks noGrp="1" noChangeAspect="1"/>
          </p:cNvSpPr>
          <p:nvPr>
            <p:ph type="title"/>
          </p:nvPr>
        </p:nvSpPr>
        <p:spPr>
          <a:xfrm>
            <a:off x="1174044" y="3092163"/>
            <a:ext cx="9967416" cy="852487"/>
          </a:xfrm>
        </p:spPr>
        <p:txBody>
          <a:bodyPr>
            <a:normAutofit/>
          </a:bodyPr>
          <a:lstStyle>
            <a:lvl1pPr>
              <a:defRPr sz="4000" b="1">
                <a:latin typeface="+mj-ea"/>
                <a:ea typeface="+mj-ea"/>
              </a:defRPr>
            </a:lvl1pPr>
          </a:lstStyle>
          <a:p>
            <a:r>
              <a:rPr kumimoji="1" lang="zh-TW" altLang="en-US"/>
              <a:t>按一下以編輯母片標題樣式</a:t>
            </a:r>
            <a:endParaRPr kumimoji="1" lang="zh-TW" altLang="en-US" dirty="0"/>
          </a:p>
        </p:txBody>
      </p:sp>
      <p:pic>
        <p:nvPicPr>
          <p:cNvPr id="24" name="圖片 23" descr="20190309_CGE_logo修改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00"/>
          <a:stretch/>
        </p:blipFill>
        <p:spPr>
          <a:xfrm>
            <a:off x="10358309" y="5220765"/>
            <a:ext cx="1845969" cy="1603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52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/>
          <p:nvPr/>
        </p:nvSpPr>
        <p:spPr>
          <a:xfrm>
            <a:off x="10041514" y="3012"/>
            <a:ext cx="2220116" cy="19981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ln>
            <a:solidFill>
              <a:srgbClr val="D1FCFF"/>
            </a:solidFill>
          </a:ln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1800"/>
          </a:p>
        </p:txBody>
      </p:sp>
      <p:sp>
        <p:nvSpPr>
          <p:cNvPr id="27" name="Shape 27"/>
          <p:cNvSpPr/>
          <p:nvPr/>
        </p:nvSpPr>
        <p:spPr>
          <a:xfrm rot="16200000">
            <a:off x="10428992" y="522524"/>
            <a:ext cx="2294722" cy="13184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4" h="21225" extrusionOk="0">
                <a:moveTo>
                  <a:pt x="0" y="20524"/>
                </a:moveTo>
                <a:cubicBezTo>
                  <a:pt x="0" y="9189"/>
                  <a:pt x="4792" y="0"/>
                  <a:pt x="10702" y="0"/>
                </a:cubicBezTo>
                <a:cubicBezTo>
                  <a:pt x="16613" y="0"/>
                  <a:pt x="21404" y="9189"/>
                  <a:pt x="21404" y="20524"/>
                </a:cubicBezTo>
                <a:cubicBezTo>
                  <a:pt x="21404" y="20758"/>
                  <a:pt x="21402" y="20991"/>
                  <a:pt x="21398" y="21225"/>
                </a:cubicBezTo>
                <a:lnTo>
                  <a:pt x="21398" y="21225"/>
                </a:lnTo>
                <a:lnTo>
                  <a:pt x="21398" y="21225"/>
                </a:lnTo>
                <a:cubicBezTo>
                  <a:pt x="21600" y="9897"/>
                  <a:pt x="16975" y="400"/>
                  <a:pt x="11068" y="12"/>
                </a:cubicBezTo>
                <a:cubicBezTo>
                  <a:pt x="5161" y="-375"/>
                  <a:pt x="208" y="8494"/>
                  <a:pt x="6" y="19822"/>
                </a:cubicBezTo>
                <a:cubicBezTo>
                  <a:pt x="2" y="20056"/>
                  <a:pt x="0" y="20290"/>
                  <a:pt x="0" y="20524"/>
                </a:cubicBezTo>
                <a:close/>
              </a:path>
            </a:pathLst>
          </a:custGeom>
          <a:ln>
            <a:solidFill>
              <a:srgbClr val="D1FCFF"/>
            </a:solidFill>
          </a:ln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1800"/>
          </a:p>
        </p:txBody>
      </p:sp>
      <p:sp>
        <p:nvSpPr>
          <p:cNvPr id="28" name="Shape 28"/>
          <p:cNvSpPr/>
          <p:nvPr/>
        </p:nvSpPr>
        <p:spPr>
          <a:xfrm>
            <a:off x="9977809" y="159750"/>
            <a:ext cx="1802515" cy="16222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rgbClr val="44BCC0">
              <a:alpha val="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1800"/>
          </a:p>
        </p:txBody>
      </p:sp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xfrm>
            <a:off x="2354540" y="2"/>
            <a:ext cx="9227861" cy="140176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58B1B3"/>
                </a:solidFill>
                <a:latin typeface="微軟正黑體"/>
                <a:ea typeface="微軟正黑體"/>
                <a:cs typeface="微軟正黑體"/>
                <a:sym typeface="微軟正黑體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zh-TW" altLang="en-US" sz="2800" b="1">
                <a:solidFill>
                  <a:srgbClr val="58B1B3"/>
                </a:solidFill>
              </a:rPr>
              <a:t>按一下以編輯母片標題樣式</a:t>
            </a:r>
            <a:endParaRPr sz="2800" b="1">
              <a:solidFill>
                <a:srgbClr val="58B1B3"/>
              </a:solidFill>
            </a:endParaRPr>
          </a:p>
        </p:txBody>
      </p:sp>
      <p:sp>
        <p:nvSpPr>
          <p:cNvPr id="30" name="Shape 30"/>
          <p:cNvSpPr>
            <a:spLocks noGrp="1"/>
          </p:cNvSpPr>
          <p:nvPr>
            <p:ph type="body" idx="1"/>
          </p:nvPr>
        </p:nvSpPr>
        <p:spPr>
          <a:xfrm>
            <a:off x="2354540" y="1460502"/>
            <a:ext cx="9227861" cy="5397500"/>
          </a:xfrm>
          <a:prstGeom prst="rect">
            <a:avLst/>
          </a:prstGeom>
        </p:spPr>
        <p:txBody>
          <a:bodyPr/>
          <a:lstStyle>
            <a:lvl1pPr>
              <a:tabLst>
                <a:tab pos="342900" algn="l"/>
              </a:tabLst>
              <a:defRPr>
                <a:solidFill>
                  <a:srgbClr val="000000"/>
                </a:solidFill>
              </a:defRPr>
            </a:lvl1pPr>
            <a:lvl2pPr>
              <a:tabLst>
                <a:tab pos="342900" algn="l"/>
              </a:tabLst>
              <a:defRPr>
                <a:solidFill>
                  <a:srgbClr val="000000"/>
                </a:solidFill>
              </a:defRPr>
            </a:lvl2pPr>
            <a:lvl3pPr>
              <a:tabLst>
                <a:tab pos="342900" algn="l"/>
              </a:tabLst>
              <a:defRPr>
                <a:solidFill>
                  <a:srgbClr val="000000"/>
                </a:solidFill>
              </a:defRPr>
            </a:lvl3pPr>
            <a:lvl4pPr>
              <a:tabLst>
                <a:tab pos="342900" algn="l"/>
              </a:tabLst>
              <a:defRPr>
                <a:solidFill>
                  <a:srgbClr val="000000"/>
                </a:solidFill>
              </a:defRPr>
            </a:lvl4pPr>
            <a:lvl5pPr>
              <a:tabLst>
                <a:tab pos="342900" algn="l"/>
              </a:tabLst>
              <a:defRPr>
                <a:solidFill>
                  <a:srgbClr val="000000"/>
                </a:solidFill>
              </a:defRPr>
            </a:lvl5pPr>
          </a:lstStyle>
          <a:p>
            <a:pPr lvl="0">
              <a:defRPr sz="1800" b="0"/>
            </a:pPr>
            <a:r>
              <a:rPr lang="zh-TW" altLang="en-US" sz="2000" b="1"/>
              <a:t>按一下以編輯母片文字樣式</a:t>
            </a:r>
          </a:p>
          <a:p>
            <a:pPr lvl="1">
              <a:defRPr sz="1800" b="0"/>
            </a:pPr>
            <a:r>
              <a:rPr lang="zh-TW" altLang="en-US" sz="2000" b="1"/>
              <a:t>第二層</a:t>
            </a:r>
          </a:p>
          <a:p>
            <a:pPr lvl="2">
              <a:defRPr sz="1800" b="0"/>
            </a:pPr>
            <a:r>
              <a:rPr lang="zh-TW" altLang="en-US" sz="2000" b="1"/>
              <a:t>第三層</a:t>
            </a:r>
          </a:p>
          <a:p>
            <a:pPr lvl="3">
              <a:defRPr sz="1800" b="0"/>
            </a:pPr>
            <a:r>
              <a:rPr lang="zh-TW" altLang="en-US" sz="2000" b="1"/>
              <a:t>第四層</a:t>
            </a:r>
          </a:p>
          <a:p>
            <a:pPr lvl="4">
              <a:defRPr sz="1800" b="0"/>
            </a:pPr>
            <a:r>
              <a:rPr lang="zh-TW" altLang="en-US" sz="2000" b="1"/>
              <a:t>第五層</a:t>
            </a:r>
            <a:endParaRPr sz="2000" b="1"/>
          </a:p>
        </p:txBody>
      </p:sp>
      <p:grpSp>
        <p:nvGrpSpPr>
          <p:cNvPr id="2" name="Group 35"/>
          <p:cNvGrpSpPr/>
          <p:nvPr/>
        </p:nvGrpSpPr>
        <p:grpSpPr>
          <a:xfrm>
            <a:off x="10449" y="5681164"/>
            <a:ext cx="12181553" cy="1127713"/>
            <a:chOff x="0" y="0"/>
            <a:chExt cx="9136164" cy="939759"/>
          </a:xfrm>
        </p:grpSpPr>
        <p:sp>
          <p:nvSpPr>
            <p:cNvPr id="31" name="Shape 31"/>
            <p:cNvSpPr/>
            <p:nvPr/>
          </p:nvSpPr>
          <p:spPr>
            <a:xfrm>
              <a:off x="100131" y="224731"/>
              <a:ext cx="594269" cy="5942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noFill/>
            <a:ln w="9525" cap="flat">
              <a:solidFill>
                <a:srgbClr val="359599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 sz="1800"/>
            </a:p>
          </p:txBody>
        </p:sp>
        <p:sp>
          <p:nvSpPr>
            <p:cNvPr id="32" name="Shape 32"/>
            <p:cNvSpPr/>
            <p:nvPr/>
          </p:nvSpPr>
          <p:spPr>
            <a:xfrm>
              <a:off x="0" y="523438"/>
              <a:ext cx="9136165" cy="1"/>
            </a:xfrm>
            <a:prstGeom prst="line">
              <a:avLst/>
            </a:prstGeom>
            <a:noFill/>
            <a:ln w="9525" cap="flat">
              <a:solidFill>
                <a:srgbClr val="359599"/>
              </a:solidFill>
              <a:prstDash val="solid"/>
              <a:bevel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1200">
                  <a:latin typeface="+mn-lt"/>
                  <a:ea typeface="+mn-ea"/>
                  <a:cs typeface="+mn-cs"/>
                  <a:sym typeface="Helvetica"/>
                </a:defRPr>
              </a:pPr>
              <a:endParaRPr sz="1200"/>
            </a:p>
          </p:txBody>
        </p:sp>
        <p:sp>
          <p:nvSpPr>
            <p:cNvPr id="33" name="Shape 33"/>
            <p:cNvSpPr/>
            <p:nvPr/>
          </p:nvSpPr>
          <p:spPr>
            <a:xfrm>
              <a:off x="477326" y="0"/>
              <a:ext cx="939761" cy="9397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noFill/>
            <a:ln w="9525" cap="flat">
              <a:solidFill>
                <a:srgbClr val="359599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 sz="1800"/>
            </a:p>
          </p:txBody>
        </p:sp>
        <p:sp>
          <p:nvSpPr>
            <p:cNvPr id="34" name="Shape 34"/>
            <p:cNvSpPr/>
            <p:nvPr/>
          </p:nvSpPr>
          <p:spPr>
            <a:xfrm>
              <a:off x="156022" y="280621"/>
              <a:ext cx="482487" cy="4824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389CBB"/>
            </a:solidFill>
            <a:ln w="9525" cap="flat">
              <a:solidFill>
                <a:srgbClr val="359599"/>
              </a:solidFill>
              <a:prstDash val="solid"/>
              <a:bevel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 algn="ctr">
                <a:defRPr>
                  <a:solidFill>
                    <a:srgbClr val="FFFFFF"/>
                  </a:solidFill>
                </a:defRPr>
              </a:pPr>
              <a:endParaRPr sz="1800"/>
            </a:p>
          </p:txBody>
        </p:sp>
      </p:grpSp>
      <p:sp>
        <p:nvSpPr>
          <p:cNvPr id="14" name="投影片編號版面配置區 5"/>
          <p:cNvSpPr txBox="1">
            <a:spLocks/>
          </p:cNvSpPr>
          <p:nvPr/>
        </p:nvSpPr>
        <p:spPr>
          <a:xfrm>
            <a:off x="145904" y="6107488"/>
            <a:ext cx="643315" cy="4384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865918-2CD4-CD49-8280-D8A4250BA3D0}" type="slidenum">
              <a:rPr kumimoji="1" lang="zh-TW" altLang="en-US" sz="1200" b="1" smtClean="0">
                <a:solidFill>
                  <a:srgbClr val="FFFFFF"/>
                </a:solidFill>
              </a:rPr>
              <a:pPr/>
              <a:t>‹#›</a:t>
            </a:fld>
            <a:endParaRPr kumimoji="1" lang="zh-TW" altLang="en-US" sz="1200" b="1" dirty="0">
              <a:solidFill>
                <a:srgbClr val="FFFFFF"/>
              </a:solidFill>
            </a:endParaRPr>
          </a:p>
        </p:txBody>
      </p:sp>
      <p:pic>
        <p:nvPicPr>
          <p:cNvPr id="15" name="圖片 14" descr="20190309_CGE_logo修改.png">
            <a:extLst>
              <a:ext uri="{FF2B5EF4-FFF2-40B4-BE49-F238E27FC236}">
                <a16:creationId xmlns:a16="http://schemas.microsoft.com/office/drawing/2014/main" id="{26C983FB-50B2-48C8-9CA5-DD5B43AA64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00" b="53465"/>
          <a:stretch/>
        </p:blipFill>
        <p:spPr>
          <a:xfrm>
            <a:off x="10119500" y="528527"/>
            <a:ext cx="1802515" cy="577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96895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8B544C-84DB-4EA5-9F0E-01A742FEE478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588465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封面">
  <p:cSld name="2_封面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2"/>
          <p:cNvPicPr preferRelativeResize="0"/>
          <p:nvPr/>
        </p:nvPicPr>
        <p:blipFill rotWithShape="1">
          <a:blip r:embed="rId2">
            <a:alphaModFix/>
          </a:blip>
          <a:srcRect l="6697" t="6046" b="7150"/>
          <a:stretch/>
        </p:blipFill>
        <p:spPr>
          <a:xfrm>
            <a:off x="389325" y="250055"/>
            <a:ext cx="7731577" cy="6357891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2"/>
          <p:cNvSpPr txBox="1">
            <a:spLocks noGrp="1"/>
          </p:cNvSpPr>
          <p:nvPr>
            <p:ph type="ctrTitle"/>
          </p:nvPr>
        </p:nvSpPr>
        <p:spPr>
          <a:xfrm>
            <a:off x="1439476" y="3590613"/>
            <a:ext cx="10363200" cy="763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Times New Roman"/>
              <a:buNone/>
              <a:defRPr sz="3733" b="1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" name="Google Shape;15;p2" descr="logo00-2.png"/>
          <p:cNvPicPr preferRelativeResize="0"/>
          <p:nvPr/>
        </p:nvPicPr>
        <p:blipFill rotWithShape="1">
          <a:blip r:embed="rId3">
            <a:alphaModFix/>
          </a:blip>
          <a:srcRect t="19249" b="19557"/>
          <a:stretch/>
        </p:blipFill>
        <p:spPr>
          <a:xfrm>
            <a:off x="10635949" y="6330026"/>
            <a:ext cx="1344000" cy="24550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11387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物件" type="obj">
  <p:cSld name="標題及物件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400"/>
              <a:buFont typeface="Arial"/>
              <a:buNone/>
              <a:defRPr sz="3200" b="1">
                <a:solidFill>
                  <a:srgbClr val="0020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body" idx="1"/>
          </p:nvPr>
        </p:nvSpPr>
        <p:spPr>
          <a:xfrm>
            <a:off x="1389514" y="1380519"/>
            <a:ext cx="9412973" cy="4662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>
                <a:solidFill>
                  <a:schemeClr val="dk1"/>
                </a:solidFill>
              </a:defRPr>
            </a:lvl2pPr>
            <a:lvl3pPr marL="1828754" lvl="2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ldNum" idx="12"/>
          </p:nvPr>
        </p:nvSpPr>
        <p:spPr>
          <a:xfrm>
            <a:off x="11760000" y="6356350"/>
            <a:ext cx="227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333" b="1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  <p:cxnSp>
        <p:nvCxnSpPr>
          <p:cNvPr id="20" name="Google Shape;20;p3"/>
          <p:cNvCxnSpPr/>
          <p:nvPr/>
        </p:nvCxnSpPr>
        <p:spPr>
          <a:xfrm>
            <a:off x="1" y="923851"/>
            <a:ext cx="9276521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1" name="Google Shape;21;p3" descr="logo00-2.png"/>
          <p:cNvPicPr preferRelativeResize="0"/>
          <p:nvPr/>
        </p:nvPicPr>
        <p:blipFill rotWithShape="1">
          <a:blip r:embed="rId2">
            <a:alphaModFix/>
          </a:blip>
          <a:srcRect t="19249" b="19557"/>
          <a:stretch/>
        </p:blipFill>
        <p:spPr>
          <a:xfrm>
            <a:off x="144271" y="6286884"/>
            <a:ext cx="2759459" cy="504056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3"/>
          <p:cNvSpPr/>
          <p:nvPr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27496D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704490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自訂版面配置">
  <p:cSld name="3_自訂版面配置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/>
          <p:nvPr/>
        </p:nvSpPr>
        <p:spPr>
          <a:xfrm>
            <a:off x="5211194" y="1743858"/>
            <a:ext cx="1638925" cy="2048655"/>
          </a:xfrm>
          <a:prstGeom prst="flowChartInputOutput">
            <a:avLst/>
          </a:prstGeom>
          <a:solidFill>
            <a:srgbClr val="00909E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64285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6"/>
          <p:cNvSpPr/>
          <p:nvPr/>
        </p:nvSpPr>
        <p:spPr>
          <a:xfrm>
            <a:off x="6683560" y="1743857"/>
            <a:ext cx="1636800" cy="2048655"/>
          </a:xfrm>
          <a:prstGeom prst="flowChartInputOutput">
            <a:avLst/>
          </a:prstGeom>
          <a:solidFill>
            <a:srgbClr val="27496D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64285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6"/>
          <p:cNvSpPr/>
          <p:nvPr/>
        </p:nvSpPr>
        <p:spPr>
          <a:xfrm>
            <a:off x="8155927" y="1743855"/>
            <a:ext cx="1636800" cy="2048655"/>
          </a:xfrm>
          <a:prstGeom prst="flowChartInputOutput">
            <a:avLst/>
          </a:prstGeom>
          <a:solidFill>
            <a:srgbClr val="595959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64285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21821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標題投影片">
  <p:cSld name="3_標題投影片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8"/>
          <p:cNvSpPr txBox="1"/>
          <p:nvPr/>
        </p:nvSpPr>
        <p:spPr>
          <a:xfrm>
            <a:off x="7958667" y="6180667"/>
            <a:ext cx="3386667" cy="3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80808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" name="Google Shape;40;p8"/>
          <p:cNvSpPr txBox="1"/>
          <p:nvPr/>
        </p:nvSpPr>
        <p:spPr>
          <a:xfrm>
            <a:off x="8955617" y="6083300"/>
            <a:ext cx="3386667" cy="3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80808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" name="Google Shape;41;p8"/>
          <p:cNvSpPr/>
          <p:nvPr/>
        </p:nvSpPr>
        <p:spPr>
          <a:xfrm>
            <a:off x="11203518" y="6199718"/>
            <a:ext cx="893233" cy="696383"/>
          </a:xfrm>
          <a:prstGeom prst="ellipse">
            <a:avLst/>
          </a:prstGeom>
          <a:solidFill>
            <a:srgbClr val="BBD6EE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" name="Google Shape;42;p8" descr="20190309_CGE_logo修改.png"/>
          <p:cNvPicPr preferRelativeResize="0"/>
          <p:nvPr/>
        </p:nvPicPr>
        <p:blipFill rotWithShape="1">
          <a:blip r:embed="rId2">
            <a:alphaModFix/>
          </a:blip>
          <a:srcRect l="34000" t="11851" r="52563" b="46375"/>
          <a:stretch/>
        </p:blipFill>
        <p:spPr>
          <a:xfrm>
            <a:off x="11076517" y="6400800"/>
            <a:ext cx="1115483" cy="298451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8"/>
          <p:cNvSpPr txBox="1">
            <a:spLocks noGrp="1"/>
          </p:cNvSpPr>
          <p:nvPr>
            <p:ph type="ctrTitle"/>
          </p:nvPr>
        </p:nvSpPr>
        <p:spPr>
          <a:xfrm>
            <a:off x="1007435" y="2708922"/>
            <a:ext cx="10363200" cy="147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000080"/>
              </a:buClr>
              <a:buSzPts val="2400"/>
              <a:buFont typeface="Times New Roman"/>
              <a:buNone/>
              <a:defRPr sz="3200" b="1">
                <a:solidFill>
                  <a:srgbClr val="00008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8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8"/>
          <p:cNvSpPr txBox="1">
            <a:spLocks noGrp="1"/>
          </p:cNvSpPr>
          <p:nvPr>
            <p:ph type="sldNum" idx="12"/>
          </p:nvPr>
        </p:nvSpPr>
        <p:spPr>
          <a:xfrm>
            <a:off x="10373785" y="6449485"/>
            <a:ext cx="1773767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828066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標題及物件">
  <p:cSld name="1_標題及物件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9"/>
          <p:cNvSpPr txBox="1"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400"/>
              <a:buFont typeface="Arial"/>
              <a:buNone/>
              <a:defRPr sz="3200" b="1">
                <a:solidFill>
                  <a:srgbClr val="002060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sldNum" idx="12"/>
          </p:nvPr>
        </p:nvSpPr>
        <p:spPr>
          <a:xfrm>
            <a:off x="11379200" y="6239671"/>
            <a:ext cx="227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600" b="1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  <p:pic>
        <p:nvPicPr>
          <p:cNvPr id="49" name="Google Shape;49;p9" descr="logo00-2.png"/>
          <p:cNvPicPr preferRelativeResize="0"/>
          <p:nvPr/>
        </p:nvPicPr>
        <p:blipFill rotWithShape="1">
          <a:blip r:embed="rId2">
            <a:alphaModFix/>
          </a:blip>
          <a:srcRect t="19249" b="19557"/>
          <a:stretch/>
        </p:blipFill>
        <p:spPr>
          <a:xfrm>
            <a:off x="144271" y="6286884"/>
            <a:ext cx="2759459" cy="504056"/>
          </a:xfrm>
          <a:prstGeom prst="rect">
            <a:avLst/>
          </a:prstGeom>
          <a:noFill/>
          <a:ln>
            <a:noFill/>
          </a:ln>
        </p:spPr>
      </p:pic>
      <p:sp>
        <p:nvSpPr>
          <p:cNvPr id="50" name="Google Shape;50;p9"/>
          <p:cNvSpPr/>
          <p:nvPr/>
        </p:nvSpPr>
        <p:spPr>
          <a:xfrm>
            <a:off x="3124200" y="6721476"/>
            <a:ext cx="9083299" cy="136525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1389514" y="1380519"/>
            <a:ext cx="9412973" cy="4662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>
                <a:solidFill>
                  <a:schemeClr val="dk1"/>
                </a:solidFill>
              </a:defRPr>
            </a:lvl2pPr>
            <a:lvl3pPr marL="1828754" lvl="2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45680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含標題的圖片" type="picTx">
  <p:cSld name="含標題的圖片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400"/>
              <a:buFont typeface="Arial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>
            <a:spLocks noGrp="1"/>
          </p:cNvSpPr>
          <p:nvPr>
            <p:ph type="pic" idx="2"/>
          </p:nvPr>
        </p:nvSpPr>
        <p:spPr>
          <a:xfrm>
            <a:off x="5183188" y="987428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55" name="Google Shape;55;p10"/>
          <p:cNvSpPr txBox="1">
            <a:spLocks noGrp="1"/>
          </p:cNvSpPr>
          <p:nvPr>
            <p:ph type="body" idx="1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150000"/>
              </a:lnSpc>
              <a:spcBef>
                <a:spcPts val="29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15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15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150000"/>
              </a:lnSpc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spcBef>
                <a:spcPts val="21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56" name="Google Shape;56;p1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10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8" name="Google Shape;58;p10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290060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空白">
  <p:cSld name="1_空白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1"/>
          <p:cNvSpPr txBox="1">
            <a:spLocks noGrp="1"/>
          </p:cNvSpPr>
          <p:nvPr>
            <p:ph type="body" idx="1"/>
          </p:nvPr>
        </p:nvSpPr>
        <p:spPr>
          <a:xfrm>
            <a:off x="609599" y="1600204"/>
            <a:ext cx="11377164" cy="4892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74121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/>
            </a:lvl1pPr>
            <a:lvl2pPr marL="1219170" lvl="1" indent="-457189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chemeClr val="lt1"/>
              </a:buClr>
              <a:buSzPts val="1800"/>
              <a:buChar char="–"/>
              <a:defRPr>
                <a:solidFill>
                  <a:schemeClr val="lt1"/>
                </a:solidFill>
              </a:defRPr>
            </a:lvl2pPr>
            <a:lvl3pPr marL="1828754" lvl="2" indent="-440256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FFFF"/>
              </a:buClr>
              <a:buSzPts val="1600"/>
              <a:buChar char="•"/>
              <a:defRPr>
                <a:solidFill>
                  <a:srgbClr val="00FFFF"/>
                </a:solidFill>
              </a:defRPr>
            </a:lvl3pPr>
            <a:lvl4pPr marL="2438339" lvl="3" indent="-423323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Char char="–"/>
              <a:defRPr/>
            </a:lvl4pPr>
            <a:lvl5pPr marL="3047924" lvl="4" indent="-423323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>
                <a:srgbClr val="00FF00"/>
              </a:buClr>
              <a:buSzPts val="1400"/>
              <a:buChar char="»"/>
              <a:defRPr>
                <a:solidFill>
                  <a:srgbClr val="00FF00"/>
                </a:solidFill>
              </a:defRPr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title"/>
          </p:nvPr>
        </p:nvSpPr>
        <p:spPr>
          <a:xfrm>
            <a:off x="1811216" y="152636"/>
            <a:ext cx="10380784" cy="1143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dt" idx="10"/>
          </p:nvPr>
        </p:nvSpPr>
        <p:spPr>
          <a:xfrm>
            <a:off x="508000" y="6534151"/>
            <a:ext cx="2540000" cy="26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3" name="Google Shape;63;p11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11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509600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標題及物件">
  <p:cSld name="2_標題及物件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oogle Shape;66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92727" y="79848"/>
            <a:ext cx="960000" cy="96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67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03619" y="96000"/>
            <a:ext cx="960000" cy="9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Google Shape;68;p12"/>
          <p:cNvSpPr txBox="1"/>
          <p:nvPr/>
        </p:nvSpPr>
        <p:spPr>
          <a:xfrm rot="5400000">
            <a:off x="10502787" y="260176"/>
            <a:ext cx="943848" cy="615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zh-TW" altLang="en-US" sz="16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小組會議</a:t>
            </a:r>
            <a:endParaRPr sz="2400"/>
          </a:p>
        </p:txBody>
      </p:sp>
      <p:sp>
        <p:nvSpPr>
          <p:cNvPr id="69" name="Google Shape;69;p12"/>
          <p:cNvSpPr txBox="1"/>
          <p:nvPr/>
        </p:nvSpPr>
        <p:spPr>
          <a:xfrm rot="5400000">
            <a:off x="9176005" y="260176"/>
            <a:ext cx="943848" cy="615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zh-TW" altLang="en-US" sz="16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期中審查</a:t>
            </a: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1286295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投影片" type="title">
  <p:cSld name="標題投影片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4500"/>
              <a:buFont typeface="Arial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3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15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/>
            </a:lvl1pPr>
            <a:lvl2pPr lvl="1" algn="ctr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/>
            </a:lvl2pPr>
            <a:lvl3pPr lvl="2" algn="ctr">
              <a:lnSpc>
                <a:spcPct val="15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800"/>
            </a:lvl3pPr>
            <a:lvl4pPr lvl="3" algn="ctr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4pPr>
            <a:lvl5pPr lvl="4" algn="ctr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5pPr>
            <a:lvl6pPr lvl="5" algn="ctr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6pPr>
            <a:lvl7pPr lvl="6" algn="ctr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7pPr>
            <a:lvl8pPr lvl="7" algn="ctr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8pPr>
            <a:lvl9pPr lvl="8" algn="ctr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9pPr>
          </a:lstStyle>
          <a:p>
            <a:endParaRPr/>
          </a:p>
        </p:txBody>
      </p:sp>
      <p:sp>
        <p:nvSpPr>
          <p:cNvPr id="73" name="Google Shape;73;p1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Google Shape;74;p13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Google Shape;75;p13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4000000" cy="4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altLang="zh-TW" smtClean="0"/>
              <a:pPr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171988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130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A216ED04-5BB1-8048-A78D-98926E9CE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406DB-2C57-FA46-802E-A831BB9D9A35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B18E8A1A-EDEC-A646-897F-F4CCC17F5E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14E7CA5A-685A-5E41-B423-AFB150C34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BEDFD-55FC-EE4C-BABF-66ECAD2BD41A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980919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2169427" y="274643"/>
            <a:ext cx="9412973" cy="8524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TW" altLang="en-US" dirty="0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2169427" y="1460504"/>
            <a:ext cx="9412973" cy="46624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TW" altLang="en-US" dirty="0"/>
              <a:t>按一下以編輯母片文字樣式</a:t>
            </a:r>
          </a:p>
          <a:p>
            <a:pPr lvl="1"/>
            <a:r>
              <a:rPr kumimoji="1" lang="zh-TW" altLang="en-US" dirty="0"/>
              <a:t>第二層</a:t>
            </a:r>
          </a:p>
          <a:p>
            <a:pPr lvl="2"/>
            <a:r>
              <a:rPr kumimoji="1" lang="zh-TW" altLang="en-US" dirty="0"/>
              <a:t>第三層</a:t>
            </a:r>
          </a:p>
          <a:p>
            <a:pPr lvl="3"/>
            <a:r>
              <a:rPr kumimoji="1" lang="zh-TW" altLang="en-US" dirty="0"/>
              <a:t>第四層</a:t>
            </a:r>
          </a:p>
          <a:p>
            <a:pPr lvl="4"/>
            <a:r>
              <a:rPr kumimoji="1" lang="zh-TW" altLang="en-US" dirty="0"/>
              <a:t>第五層</a:t>
            </a:r>
          </a:p>
        </p:txBody>
      </p:sp>
    </p:spTree>
    <p:extLst>
      <p:ext uri="{BB962C8B-B14F-4D97-AF65-F5344CB8AC3E}">
        <p14:creationId xmlns:p14="http://schemas.microsoft.com/office/powerpoint/2010/main" val="346708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903" r:id="rId9"/>
    <p:sldLayoutId id="2147483989" r:id="rId10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733" b="1" i="0" kern="1200">
          <a:solidFill>
            <a:srgbClr val="002060"/>
          </a:solidFill>
          <a:latin typeface="+mj-lt"/>
          <a:ea typeface="+mn-ea"/>
          <a:cs typeface="Heiti TC Medium"/>
        </a:defRPr>
      </a:lvl1pPr>
    </p:titleStyle>
    <p:bodyStyle>
      <a:lvl1pPr marL="457189" indent="-457189" algn="l" defTabSz="609585" rtl="0" eaLnBrk="1" latinLnBrk="0" hangingPunct="1">
        <a:lnSpc>
          <a:spcPct val="150000"/>
        </a:lnSpc>
        <a:spcBef>
          <a:spcPct val="20000"/>
        </a:spcBef>
        <a:buFont typeface="Arial"/>
        <a:buChar char="•"/>
        <a:defRPr sz="2667" b="0" kern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微軟正黑體" panose="020B0604030504040204" pitchFamily="34" charset="-120"/>
        </a:defRPr>
      </a:lvl1pPr>
      <a:lvl2pPr marL="990575" indent="-380990" algn="l" defTabSz="609585" rtl="0" eaLnBrk="1" latinLnBrk="0" hangingPunct="1">
        <a:lnSpc>
          <a:spcPct val="150000"/>
        </a:lnSpc>
        <a:spcBef>
          <a:spcPct val="20000"/>
        </a:spcBef>
        <a:buFont typeface="Arial"/>
        <a:buChar char="–"/>
        <a:defRPr sz="2400" b="0" kern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微軟正黑體" panose="020B0604030504040204" pitchFamily="34" charset="-120"/>
        </a:defRPr>
      </a:lvl2pPr>
      <a:lvl3pPr marL="1523962" indent="-304792" algn="l" defTabSz="609585" rtl="0" eaLnBrk="1" latinLnBrk="0" hangingPunct="1">
        <a:lnSpc>
          <a:spcPct val="150000"/>
        </a:lnSpc>
        <a:spcBef>
          <a:spcPct val="20000"/>
        </a:spcBef>
        <a:buFont typeface="Arial"/>
        <a:buChar char="•"/>
        <a:defRPr sz="2133" b="0" kern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微軟正黑體" panose="020B0604030504040204" pitchFamily="34" charset="-120"/>
        </a:defRPr>
      </a:lvl3pPr>
      <a:lvl4pPr marL="2133547" indent="-304792" algn="l" defTabSz="609585" rtl="0" eaLnBrk="1" latinLnBrk="0" hangingPunct="1">
        <a:lnSpc>
          <a:spcPct val="150000"/>
        </a:lnSpc>
        <a:spcBef>
          <a:spcPct val="20000"/>
        </a:spcBef>
        <a:buFont typeface="Arial"/>
        <a:buChar char="–"/>
        <a:defRPr sz="1867" b="0" kern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微軟正黑體" panose="020B0604030504040204" pitchFamily="34" charset="-120"/>
        </a:defRPr>
      </a:lvl4pPr>
      <a:lvl5pPr marL="2743131" indent="-304792" algn="l" defTabSz="609585" rtl="0" eaLnBrk="1" latinLnBrk="0" hangingPunct="1">
        <a:lnSpc>
          <a:spcPct val="150000"/>
        </a:lnSpc>
        <a:spcBef>
          <a:spcPct val="20000"/>
        </a:spcBef>
        <a:buFont typeface="Arial"/>
        <a:buChar char="»"/>
        <a:defRPr sz="1867" b="0" kern="12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  <a:cs typeface="微軟正黑體" panose="020B0604030504040204" pitchFamily="34" charset="-12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6070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標題版面配置區 1">
            <a:extLst>
              <a:ext uri="{FF2B5EF4-FFF2-40B4-BE49-F238E27FC236}">
                <a16:creationId xmlns:a16="http://schemas.microsoft.com/office/drawing/2014/main" id="{E985ECD0-1FC4-41A9-B4B6-5C6528E4F0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5123" name="文字版面配置區 2">
            <a:extLst>
              <a:ext uri="{FF2B5EF4-FFF2-40B4-BE49-F238E27FC236}">
                <a16:creationId xmlns:a16="http://schemas.microsoft.com/office/drawing/2014/main" id="{BC9B8799-3F88-46B0-AD9A-E5017CA0894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編輯母片文字樣式
第二層
第三層
第四層
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64C89A1-8D80-4447-9C22-A83B49044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1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ADA0E5C-F33B-4F42-BC89-AA86791B5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kumimoji="1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1862B9E-F8F5-4189-B4DB-144E7C4E67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kumimoji="1"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41CC094-8F82-4BB2-9302-E6BBBA91DE0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97332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11" r:id="rId23"/>
    <p:sldLayoutId id="2147483812" r:id="rId24"/>
  </p:sldLayoutIdLst>
  <p:hf hdr="0" ftr="0" dt="0"/>
  <p:txStyles>
    <p:titleStyle>
      <a:lvl1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微軟正黑體"/>
          <a:ea typeface="微軟正黑體"/>
          <a:cs typeface="微軟正黑體"/>
        </a:defRPr>
      </a:lvl1pPr>
      <a:lvl2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2pPr>
      <a:lvl3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3pPr>
      <a:lvl4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4pPr>
      <a:lvl5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5pPr>
      <a:lvl6pPr marL="609585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6pPr>
      <a:lvl7pPr marL="1219170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7pPr>
      <a:lvl8pPr marL="1828754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8pPr>
      <a:lvl9pPr marL="2438339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微軟正黑體" panose="020B0604030504040204" pitchFamily="34" charset="-120"/>
          <a:ea typeface="微軟正黑體" panose="020B0604030504040204" pitchFamily="34" charset="-120"/>
        </a:defRPr>
      </a:lvl9pPr>
    </p:titleStyle>
    <p:bodyStyle>
      <a:lvl1pPr marL="226478" indent="-226478" algn="l" defTabSz="912261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軟正黑體"/>
          <a:ea typeface="微軟正黑體"/>
          <a:cs typeface="微軟正黑體"/>
        </a:defRPr>
      </a:lvl1pPr>
      <a:lvl2pPr marL="683667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5BD5A863-2651-4645-A115-DC9790753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0352A448-DB5B-B44B-B69E-7CA52B4755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TW" altLang="en-US"/>
              <a:t>按一下以編輯母片文字樣式</a:t>
            </a:r>
          </a:p>
          <a:p>
            <a:pPr lvl="1"/>
            <a:r>
              <a:rPr kumimoji="1" lang="zh-TW" altLang="en-US"/>
              <a:t>第二層</a:t>
            </a:r>
          </a:p>
          <a:p>
            <a:pPr lvl="2"/>
            <a:r>
              <a:rPr kumimoji="1" lang="zh-TW" altLang="en-US"/>
              <a:t>第三層</a:t>
            </a:r>
          </a:p>
          <a:p>
            <a:pPr lvl="3"/>
            <a:r>
              <a:rPr kumimoji="1" lang="zh-TW" altLang="en-US"/>
              <a:t>第四層</a:t>
            </a:r>
          </a:p>
          <a:p>
            <a:pPr lvl="4"/>
            <a:r>
              <a:rPr kumimoji="1"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B6E32500-2547-C84C-84AD-4DF3EBA5EB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3DA5E3-F6CA-8C43-A213-8145B086E897}" type="datetimeFigureOut">
              <a:rPr kumimoji="1" lang="zh-TW" altLang="en-US" smtClean="0"/>
              <a:t>2022/12/5</a:t>
            </a:fld>
            <a:endParaRPr kumimoji="1"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2348BA8D-3E70-964F-9803-156B944FA3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3D83D02A-16E0-DC44-A7DE-63F9B98FD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547C66-532E-2244-B6AD-D20E0873A8D9}" type="slidenum">
              <a:rPr kumimoji="1" lang="zh-TW" altLang="en-US" smtClean="0"/>
              <a:t>‹#›</a:t>
            </a:fld>
            <a:endParaRPr kumimoji="1" lang="zh-TW" altLang="en-US"/>
          </a:p>
        </p:txBody>
      </p:sp>
    </p:spTree>
    <p:extLst>
      <p:ext uri="{BB962C8B-B14F-4D97-AF65-F5344CB8AC3E}">
        <p14:creationId xmlns:p14="http://schemas.microsoft.com/office/powerpoint/2010/main" val="3151397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2" r:id="rId17"/>
    <p:sldLayoutId id="2147483923" r:id="rId18"/>
    <p:sldLayoutId id="2147483924" r:id="rId19"/>
    <p:sldLayoutId id="2147483925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5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26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56" r:id="rId2"/>
    <p:sldLayoutId id="2147483957" r:id="rId3"/>
    <p:sldLayoutId id="2147483958" r:id="rId4"/>
    <p:sldLayoutId id="2147483987" r:id="rId5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新細明體" panose="02020500000000000000" pitchFamily="18" charset="-120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新細明體" panose="02020500000000000000" pitchFamily="18" charset="-120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新細明體" panose="02020500000000000000" pitchFamily="18" charset="-120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新細明體" panose="02020500000000000000" pitchFamily="18" charset="-120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新細明體" panose="02020500000000000000" pitchFamily="18" charset="-120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新細明體" panose="02020500000000000000" pitchFamily="18" charset="-120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7456" y="6651619"/>
            <a:ext cx="424543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8296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4" r:id="rId7"/>
    <p:sldLayoutId id="2147483955" r:id="rId8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2169427" y="274643"/>
            <a:ext cx="9412973" cy="852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2800"/>
              <a:buFont typeface="Arial"/>
              <a:buNone/>
              <a:defRPr sz="2800" b="1" i="0" u="none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2169427" y="1460504"/>
            <a:ext cx="9412973" cy="4662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1pPr>
            <a:lvl2pPr marL="914400" marR="0" lvl="1" indent="-342900" algn="l" rtl="0">
              <a:lnSpc>
                <a:spcPct val="15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2pPr>
            <a:lvl3pPr marL="1371600" marR="0" lvl="2" indent="-330200" algn="l" rtl="0">
              <a:lnSpc>
                <a:spcPct val="15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3pPr>
            <a:lvl4pPr marL="1828800" marR="0" lvl="3" indent="-317500" algn="l" rtl="0">
              <a:lnSpc>
                <a:spcPct val="15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–"/>
              <a:defRPr sz="1400" b="0" i="0" u="none" strike="noStrike" cap="none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4pPr>
            <a:lvl5pPr marL="2286000" marR="0" lvl="4" indent="-317500" algn="l" rtl="0">
              <a:lnSpc>
                <a:spcPct val="15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Microsoft JhengHei"/>
                <a:ea typeface="Microsoft JhengHei"/>
                <a:cs typeface="Microsoft JhengHei"/>
                <a:sym typeface="Microsoft JhengHe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471248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2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52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53.png"/><Relationship Id="rId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7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5.png"/><Relationship Id="rId5" Type="http://schemas.openxmlformats.org/officeDocument/2006/relationships/image" Target="../media/image57.png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image" Target="../media/image46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45.png"/><Relationship Id="rId5" Type="http://schemas.openxmlformats.org/officeDocument/2006/relationships/image" Target="../media/image47.png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47.png"/><Relationship Id="rId4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62.svg"/><Relationship Id="rId9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2.svg"/><Relationship Id="rId5" Type="http://schemas.openxmlformats.org/officeDocument/2006/relationships/image" Target="../media/image61.png"/><Relationship Id="rId4" Type="http://schemas.openxmlformats.org/officeDocument/2006/relationships/image" Target="../media/image64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8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05.jpe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1.png"/><Relationship Id="rId3" Type="http://schemas.openxmlformats.org/officeDocument/2006/relationships/image" Target="../media/image103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2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02.png"/><Relationship Id="rId7" Type="http://schemas.openxmlformats.org/officeDocument/2006/relationships/image" Target="../media/image115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14.png"/><Relationship Id="rId5" Type="http://schemas.openxmlformats.org/officeDocument/2006/relationships/image" Target="../media/image113.png"/><Relationship Id="rId4" Type="http://schemas.openxmlformats.org/officeDocument/2006/relationships/image" Target="../media/image112.png"/><Relationship Id="rId9" Type="http://schemas.openxmlformats.org/officeDocument/2006/relationships/image" Target="../media/image11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7" Type="http://schemas.openxmlformats.org/officeDocument/2006/relationships/image" Target="../media/image120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hyperlink" Target="https://unsplash.com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storm.mg/article/4006605?page=2" TargetMode="Externa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9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67.xml"/><Relationship Id="rId6" Type="http://schemas.openxmlformats.org/officeDocument/2006/relationships/hyperlink" Target="https://equator-principles.com/members-reporting/&#65307;https:/www.unpri.org/signatories/signatory-directory&#65307;https:/www.unepfi.org/psi/signatory-companies/&#65307;https:/www.unepfi.org/banking/bankingprinciples/signatories/" TargetMode="External"/><Relationship Id="rId5" Type="http://schemas.openxmlformats.org/officeDocument/2006/relationships/image" Target="../media/image124.jpeg"/><Relationship Id="rId4" Type="http://schemas.openxmlformats.org/officeDocument/2006/relationships/image" Target="../media/image123.jpe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9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7.xml"/><Relationship Id="rId5" Type="http://schemas.openxmlformats.org/officeDocument/2006/relationships/image" Target="../media/image127.png"/><Relationship Id="rId4" Type="http://schemas.openxmlformats.org/officeDocument/2006/relationships/image" Target="../media/image12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70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3.png"/><Relationship Id="rId3" Type="http://schemas.openxmlformats.org/officeDocument/2006/relationships/image" Target="../media/image128.png"/><Relationship Id="rId7" Type="http://schemas.openxmlformats.org/officeDocument/2006/relationships/image" Target="../media/image13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10" Type="http://schemas.openxmlformats.org/officeDocument/2006/relationships/image" Target="../media/image135.png"/><Relationship Id="rId4" Type="http://schemas.openxmlformats.org/officeDocument/2006/relationships/image" Target="../media/image129.png"/><Relationship Id="rId9" Type="http://schemas.openxmlformats.org/officeDocument/2006/relationships/image" Target="../media/image134.pn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223760" y="2862117"/>
            <a:ext cx="4467401" cy="1133765"/>
          </a:xfrm>
        </p:spPr>
        <p:txBody>
          <a:bodyPr>
            <a:noAutofit/>
          </a:bodyPr>
          <a:lstStyle/>
          <a:p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ESG</a:t>
            </a:r>
            <a:r>
              <a:rPr lang="zh-TW" alt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的企業意涵與永續金融─紡織業如何推展</a:t>
            </a:r>
            <a:r>
              <a:rPr lang="en-US" altLang="zh-TW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NTINGHEI SC DEMIBOLD" panose="02000000000000000000" pitchFamily="2" charset="-122"/>
                <a:ea typeface="LANTINGHEI SC DEMIBOLD" panose="02000000000000000000" pitchFamily="2" charset="-122"/>
              </a:rPr>
              <a:t>ESG</a:t>
            </a:r>
            <a:endParaRPr lang="zh-CN" alt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ANTINGHEI SC DEMIBOLD" panose="02000000000000000000" pitchFamily="2" charset="-122"/>
              <a:ea typeface="LANTINGHEI SC DEMIBOLD" panose="02000000000000000000" pitchFamily="2" charset="-122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620809" y="5517049"/>
            <a:ext cx="4787175" cy="595047"/>
          </a:xfrm>
        </p:spPr>
        <p:txBody>
          <a:bodyPr/>
          <a:lstStyle/>
          <a:p>
            <a:r>
              <a:rPr lang="zh-TW" alt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溫麗琪 主任 </a:t>
            </a:r>
            <a:endParaRPr lang="en-US" altLang="zh-CN" sz="20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2085" y="5578046"/>
            <a:ext cx="1546559" cy="383981"/>
          </a:xfrm>
        </p:spPr>
        <p:txBody>
          <a:bodyPr/>
          <a:lstStyle/>
          <a:p>
            <a:r>
              <a:rPr lang="en-US" altLang="zh-CN" sz="1600" dirty="0">
                <a:solidFill>
                  <a:schemeClr val="bg1"/>
                </a:solidFill>
              </a:rPr>
              <a:t>202</a:t>
            </a:r>
            <a:r>
              <a:rPr lang="en-US" altLang="zh-TW" sz="1600" dirty="0">
                <a:solidFill>
                  <a:schemeClr val="bg1"/>
                </a:solidFill>
              </a:rPr>
              <a:t>2.12.8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CCC297F8-BEA2-4D12-BDA3-388D928054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30941" y="4623667"/>
            <a:ext cx="2063699" cy="2069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398"/>
    </mc:Choice>
    <mc:Fallback xmlns="">
      <p:transition spd="slow" advTm="6398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8111499" y="6449837"/>
            <a:ext cx="4098903" cy="187020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3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2685" b="77411"/>
          <a:stretch>
            <a:fillRect/>
          </a:stretch>
        </p:blipFill>
        <p:spPr>
          <a:xfrm>
            <a:off x="3408358" y="6093684"/>
            <a:ext cx="558869" cy="179921"/>
          </a:xfrm>
          <a:prstGeom prst="rect">
            <a:avLst/>
          </a:prstGeom>
        </p:spPr>
      </p:pic>
      <p:sp>
        <p:nvSpPr>
          <p:cNvPr id="4" name="TextBox 4"/>
          <p:cNvSpPr txBox="1"/>
          <p:nvPr/>
        </p:nvSpPr>
        <p:spPr>
          <a:xfrm>
            <a:off x="954587" y="609600"/>
            <a:ext cx="4518925" cy="5977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5103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3645" b="1" kern="0" dirty="0" err="1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前言</a:t>
            </a:r>
            <a:endParaRPr lang="en-US" sz="3645" b="1" kern="0" dirty="0">
              <a:solidFill>
                <a:srgbClr val="2779C8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5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821501" y="1927851"/>
            <a:ext cx="1140612" cy="1220499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1821501" y="3618467"/>
            <a:ext cx="1140612" cy="937376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3153411" y="4241316"/>
            <a:ext cx="5719133" cy="60676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 defTabSz="1219170">
              <a:lnSpc>
                <a:spcPts val="2461"/>
              </a:lnSpc>
              <a:buClr>
                <a:srgbClr val="000000"/>
              </a:buClr>
            </a:pPr>
            <a:r>
              <a:rPr lang="en-US" sz="1568" kern="0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318家上市公司的淨利排名因為環境外部成本大洗牌！</a:t>
            </a:r>
          </a:p>
          <a:p>
            <a:pPr algn="just" defTabSz="1219170">
              <a:lnSpc>
                <a:spcPts val="2461"/>
              </a:lnSpc>
              <a:buClr>
                <a:srgbClr val="000000"/>
              </a:buClr>
            </a:pPr>
            <a:endParaRPr lang="en-US" sz="1568" kern="0">
              <a:solidFill>
                <a:srgbClr val="000000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3153411" y="3760549"/>
            <a:ext cx="8032780" cy="3913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3437"/>
              </a:lnSpc>
              <a:buClr>
                <a:srgbClr val="000000"/>
              </a:buClr>
            </a:pPr>
            <a:r>
              <a:rPr lang="en-US" sz="2189" b="1" kern="0" dirty="0" err="1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CSRone和中經院綠經中心聯手分析上市公司的環境外部成本</a:t>
            </a:r>
            <a:endParaRPr lang="en-US" sz="2189" b="1" kern="0" dirty="0">
              <a:solidFill>
                <a:srgbClr val="000000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</p:txBody>
      </p:sp>
      <p:sp>
        <p:nvSpPr>
          <p:cNvPr id="9" name="TextBox 9"/>
          <p:cNvSpPr txBox="1"/>
          <p:nvPr/>
        </p:nvSpPr>
        <p:spPr>
          <a:xfrm>
            <a:off x="3153411" y="2053943"/>
            <a:ext cx="8032780" cy="83471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 defTabSz="1219170">
              <a:lnSpc>
                <a:spcPts val="4527"/>
              </a:lnSpc>
              <a:buClr>
                <a:srgbClr val="000000"/>
              </a:buClr>
            </a:pPr>
            <a:r>
              <a:rPr lang="en-US" sz="2187" b="1" kern="0" dirty="0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「</a:t>
            </a:r>
            <a:r>
              <a:rPr lang="en-US" sz="2187" b="1" kern="0" dirty="0" err="1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環境外部成本」成為企業「碳焦慮」的主要來源</a:t>
            </a:r>
            <a:endParaRPr lang="en-US" sz="2187" b="1" kern="0" dirty="0">
              <a:solidFill>
                <a:srgbClr val="000000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  <a:p>
            <a:pPr algn="just" defTabSz="1219170">
              <a:lnSpc>
                <a:spcPts val="2195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68" kern="0" dirty="0" err="1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來自於碳費、碳關稅、永續金融、供應鏈客戶的壓力脫離不了「環境外部成本</a:t>
            </a:r>
            <a:r>
              <a:rPr lang="en-US" sz="1568" kern="0" dirty="0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」</a:t>
            </a: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11116341" y="-17122"/>
            <a:ext cx="1022015" cy="1022015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10035631" y="94511"/>
            <a:ext cx="1261135" cy="713087"/>
          </a:xfrm>
          <a:prstGeom prst="rect">
            <a:avLst/>
          </a:prstGeom>
        </p:spPr>
      </p:pic>
      <p:pic>
        <p:nvPicPr>
          <p:cNvPr id="13" name="Picture 13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sp>
        <p:nvSpPr>
          <p:cNvPr id="14" name="TextBox 14"/>
          <p:cNvSpPr txBox="1"/>
          <p:nvPr/>
        </p:nvSpPr>
        <p:spPr>
          <a:xfrm>
            <a:off x="11975007" y="6446730"/>
            <a:ext cx="10239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2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1116341" y="-17122"/>
            <a:ext cx="1022015" cy="1022015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0035631" y="94511"/>
            <a:ext cx="1261135" cy="713087"/>
          </a:xfrm>
          <a:prstGeom prst="rect">
            <a:avLst/>
          </a:prstGeom>
        </p:spPr>
      </p:pic>
      <p:grpSp>
        <p:nvGrpSpPr>
          <p:cNvPr id="5" name="Group 5"/>
          <p:cNvGrpSpPr/>
          <p:nvPr/>
        </p:nvGrpSpPr>
        <p:grpSpPr>
          <a:xfrm>
            <a:off x="275398" y="807596"/>
            <a:ext cx="3617933" cy="1646642"/>
            <a:chOff x="0" y="0"/>
            <a:chExt cx="7235866" cy="3293281"/>
          </a:xfrm>
        </p:grpSpPr>
        <p:sp>
          <p:nvSpPr>
            <p:cNvPr id="6" name="AutoShape 6"/>
            <p:cNvSpPr/>
            <p:nvPr/>
          </p:nvSpPr>
          <p:spPr>
            <a:xfrm>
              <a:off x="0" y="0"/>
              <a:ext cx="7235866" cy="3293281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7" name="TextBox 7"/>
            <p:cNvSpPr txBox="1"/>
            <p:nvPr/>
          </p:nvSpPr>
          <p:spPr>
            <a:xfrm>
              <a:off x="137448" y="346774"/>
              <a:ext cx="6960970" cy="255762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 defTabSz="1219170">
                <a:lnSpc>
                  <a:spcPts val="3444"/>
                </a:lnSpc>
                <a:buClr>
                  <a:srgbClr val="000000"/>
                </a:buClr>
              </a:pPr>
              <a:r>
                <a:rPr lang="en-US" sz="2712" b="1" kern="0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企業碳環境成本以美國碳社會成本的平均值為主要情境</a:t>
              </a:r>
              <a:endParaRPr lang="en-US" sz="2712" b="1" kern="0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endParaRPr>
            </a:p>
          </p:txBody>
        </p:sp>
      </p:grpSp>
      <p:pic>
        <p:nvPicPr>
          <p:cNvPr id="8" name="Picture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pic>
        <p:nvPicPr>
          <p:cNvPr id="9" name="Picture 9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596460" y="685801"/>
            <a:ext cx="9519880" cy="5652879"/>
          </a:xfrm>
          <a:prstGeom prst="rect">
            <a:avLst/>
          </a:prstGeom>
        </p:spPr>
      </p:pic>
      <p:sp>
        <p:nvSpPr>
          <p:cNvPr id="10" name="TextBox 10"/>
          <p:cNvSpPr txBox="1"/>
          <p:nvPr/>
        </p:nvSpPr>
        <p:spPr>
          <a:xfrm>
            <a:off x="5622552" y="6441112"/>
            <a:ext cx="6986669" cy="1538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1195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195" kern="0">
                <a:solidFill>
                  <a:srgbClr val="000000"/>
                </a:solidFill>
                <a:latin typeface="Arial"/>
                <a:ea typeface="Glacial Indifference"/>
                <a:cs typeface="Arial"/>
                <a:sym typeface="Arial"/>
              </a:rPr>
              <a:t>資料來源：Interagency Working Group on Social Cost of Carbon, United States Government (2021)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12031595" y="6659598"/>
            <a:ext cx="106760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3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-239310" y="6254001"/>
            <a:ext cx="925111" cy="666159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85801" y="760417"/>
            <a:ext cx="10101969" cy="6097585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0" y="334873"/>
            <a:ext cx="12192000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3371"/>
              </a:lnSpc>
              <a:buClr>
                <a:srgbClr val="000000"/>
              </a:buClr>
            </a:pPr>
            <a:r>
              <a:rPr lang="en-US" sz="3092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318家上市公司碳排放量超過我國整體排放量1半以上</a:t>
            </a:r>
          </a:p>
        </p:txBody>
      </p:sp>
      <p:grpSp>
        <p:nvGrpSpPr>
          <p:cNvPr id="6" name="Group 6"/>
          <p:cNvGrpSpPr/>
          <p:nvPr/>
        </p:nvGrpSpPr>
        <p:grpSpPr>
          <a:xfrm>
            <a:off x="4397598" y="3647611"/>
            <a:ext cx="7370365" cy="1702052"/>
            <a:chOff x="0" y="0"/>
            <a:chExt cx="14740729" cy="3404103"/>
          </a:xfrm>
        </p:grpSpPr>
        <p:sp>
          <p:nvSpPr>
            <p:cNvPr id="7" name="AutoShape 7"/>
            <p:cNvSpPr/>
            <p:nvPr/>
          </p:nvSpPr>
          <p:spPr>
            <a:xfrm>
              <a:off x="0" y="0"/>
              <a:ext cx="14740729" cy="3404103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8" name="TextBox 8"/>
            <p:cNvSpPr txBox="1"/>
            <p:nvPr/>
          </p:nvSpPr>
          <p:spPr>
            <a:xfrm>
              <a:off x="165248" y="323196"/>
              <a:ext cx="14487435" cy="2801407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just" defTabSz="1219170">
                <a:lnSpc>
                  <a:spcPts val="2768"/>
                </a:lnSpc>
                <a:buClr>
                  <a:srgbClr val="000000"/>
                </a:buClr>
              </a:pPr>
              <a:r>
                <a:rPr lang="en-US" sz="1845" b="1" kern="0" spc="15" dirty="0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行業別排放量總計為1億6,270萬噸CO2e，前四大行業別排放佔比即超過整體排放的一半，依序為塑膠工業（2,680萬，佔16.5%）、油電燃氣業（2,555萬，佔15.7%） 、</a:t>
              </a:r>
              <a:r>
                <a:rPr lang="en-US" sz="1845" b="1" kern="0" spc="15" dirty="0" err="1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鋼鐵工業</a:t>
              </a:r>
              <a:r>
                <a:rPr lang="en-US" sz="1845" b="1" kern="0" spc="15" dirty="0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（ 2,176萬，佔13.4 % ）、</a:t>
              </a:r>
              <a:r>
                <a:rPr lang="en-US" sz="1845" b="1" kern="0" spc="15" dirty="0" err="1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航運業</a:t>
              </a:r>
              <a:r>
                <a:rPr lang="en-US" sz="1845" b="1" kern="0" spc="15" dirty="0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（ 1,985萬，佔12.2 % ）。</a:t>
              </a: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9078194" y="6375141"/>
            <a:ext cx="2161647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595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95" kern="0" dirty="0">
                <a:solidFill>
                  <a:srgbClr val="000000"/>
                </a:solidFill>
                <a:latin typeface="Arial" panose="020B0604020202020204" pitchFamily="34" charset="0"/>
                <a:ea typeface="Glacial Indifference"/>
                <a:cs typeface="Arial" panose="020B0604020202020204" pitchFamily="34" charset="0"/>
                <a:sym typeface="Arial"/>
              </a:rPr>
              <a:t>（單位：百萬噸CO2e）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2025179" y="6659598"/>
            <a:ext cx="119592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331095" y="1398128"/>
            <a:ext cx="9171763" cy="5019912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345440" y="989668"/>
            <a:ext cx="3566115" cy="2960673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0" y="374750"/>
            <a:ext cx="12192000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3371"/>
              </a:lnSpc>
              <a:buClr>
                <a:srgbClr val="000000"/>
              </a:buClr>
            </a:pPr>
            <a:r>
              <a:rPr lang="en-US" sz="3092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上市公司126家環境外部成本超過上億</a:t>
            </a:r>
          </a:p>
        </p:txBody>
      </p:sp>
      <p:sp>
        <p:nvSpPr>
          <p:cNvPr id="6" name="AutoShape 6"/>
          <p:cNvSpPr/>
          <p:nvPr/>
        </p:nvSpPr>
        <p:spPr>
          <a:xfrm>
            <a:off x="0" y="4078787"/>
            <a:ext cx="4108640" cy="2649635"/>
          </a:xfrm>
          <a:prstGeom prst="rect">
            <a:avLst/>
          </a:prstGeom>
          <a:solidFill>
            <a:srgbClr val="2779C8"/>
          </a:solidFill>
        </p:spPr>
      </p:sp>
      <p:sp>
        <p:nvSpPr>
          <p:cNvPr id="8" name="AutoShape 8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sp>
        <p:nvSpPr>
          <p:cNvPr id="9" name="TextBox 9"/>
          <p:cNvSpPr txBox="1"/>
          <p:nvPr/>
        </p:nvSpPr>
        <p:spPr>
          <a:xfrm>
            <a:off x="12030999" y="6659598"/>
            <a:ext cx="107951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5</a:t>
            </a:r>
          </a:p>
        </p:txBody>
      </p:sp>
      <p:sp>
        <p:nvSpPr>
          <p:cNvPr id="11" name="矩形 10"/>
          <p:cNvSpPr/>
          <p:nvPr/>
        </p:nvSpPr>
        <p:spPr>
          <a:xfrm>
            <a:off x="137999" y="4245430"/>
            <a:ext cx="3832644" cy="2440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lnSpc>
                <a:spcPts val="3067"/>
              </a:lnSpc>
              <a:buClr>
                <a:srgbClr val="000000"/>
              </a:buClr>
            </a:pP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依照美國碳社會成本</a:t>
            </a:r>
            <a:r>
              <a:rPr lang="en-US" altLang="zh-TW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(SCC)1</a:t>
            </a: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噸碳</a:t>
            </a:r>
            <a:r>
              <a:rPr lang="en-US" altLang="zh-TW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1,370</a:t>
            </a: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元計算，所有行業別環境外部成本總計約為</a:t>
            </a:r>
            <a:r>
              <a:rPr lang="en-US" altLang="zh-TW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2,230</a:t>
            </a: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億元，其中又以塑膠工業環境外部成本最高（</a:t>
            </a:r>
            <a:r>
              <a:rPr lang="en-US" altLang="zh-TW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367.1</a:t>
            </a: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億），佔總環境外部成本</a:t>
            </a:r>
            <a:r>
              <a:rPr lang="en-US" altLang="zh-TW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16.5%</a:t>
            </a:r>
            <a:r>
              <a:rPr lang="zh-TW" altLang="en-US" sz="2133" b="1" kern="0" dirty="0">
                <a:solidFill>
                  <a:srgbClr val="FFFFFF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。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sp>
        <p:nvSpPr>
          <p:cNvPr id="3" name="AutoShape 3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304359" y="804114"/>
            <a:ext cx="12163220" cy="5971151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0" y="292199"/>
            <a:ext cx="12192000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3371"/>
              </a:lnSpc>
              <a:buClr>
                <a:srgbClr val="000000"/>
              </a:buClr>
            </a:pPr>
            <a:r>
              <a:rPr lang="en-US" sz="3092" b="1" kern="0" dirty="0" err="1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電燃氣業、水泥、鋼鐵業環境成本佔營收比例為最高</a:t>
            </a:r>
            <a:endParaRPr lang="en-US" sz="3092" b="1" kern="0" dirty="0">
              <a:solidFill>
                <a:srgbClr val="2779C8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2676420" y="6472701"/>
            <a:ext cx="2026709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2136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959" kern="0">
                <a:solidFill>
                  <a:srgbClr val="32443B"/>
                </a:solidFill>
                <a:latin typeface="Glacial Indifference"/>
                <a:cs typeface="Arial"/>
                <a:sym typeface="Arial"/>
              </a:rPr>
              <a:t>*()內表示企業家數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2028817" y="6659598"/>
            <a:ext cx="112316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6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sp>
        <p:nvSpPr>
          <p:cNvPr id="3" name="AutoShape 3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75169" y="748151"/>
            <a:ext cx="12220868" cy="6234359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0" y="292199"/>
            <a:ext cx="12192000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3371"/>
              </a:lnSpc>
              <a:buClr>
                <a:srgbClr val="000000"/>
              </a:buClr>
            </a:pPr>
            <a:r>
              <a:rPr lang="en-US" sz="3092" b="1" kern="0" dirty="0" err="1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油電燃氣、鋼鐵、觀光事業、造紙業</a:t>
            </a:r>
            <a:r>
              <a:rPr lang="zh-TW" altLang="en-US" sz="3092" b="1" kern="0" dirty="0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 </a:t>
            </a:r>
            <a:r>
              <a:rPr lang="en-US" sz="3092" b="1" kern="0" dirty="0" err="1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環境成本佔淨利比例最高</a:t>
            </a:r>
            <a:endParaRPr lang="en-US" sz="3092" b="1" kern="0" dirty="0">
              <a:solidFill>
                <a:srgbClr val="2779C8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2676420" y="6472701"/>
            <a:ext cx="2026709" cy="269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2136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959" kern="0">
                <a:solidFill>
                  <a:srgbClr val="32443B"/>
                </a:solidFill>
                <a:latin typeface="Glacial Indifference"/>
                <a:cs typeface="Arial"/>
                <a:sym typeface="Arial"/>
              </a:rPr>
              <a:t>*()內表示企業家數</a:t>
            </a:r>
          </a:p>
        </p:txBody>
      </p:sp>
      <p:grpSp>
        <p:nvGrpSpPr>
          <p:cNvPr id="8" name="Group 8"/>
          <p:cNvGrpSpPr/>
          <p:nvPr/>
        </p:nvGrpSpPr>
        <p:grpSpPr>
          <a:xfrm>
            <a:off x="4518977" y="1577599"/>
            <a:ext cx="5281235" cy="1794867"/>
            <a:chOff x="-1" y="0"/>
            <a:chExt cx="10562469" cy="3589734"/>
          </a:xfrm>
        </p:grpSpPr>
        <p:sp>
          <p:nvSpPr>
            <p:cNvPr id="9" name="AutoShape 9"/>
            <p:cNvSpPr/>
            <p:nvPr/>
          </p:nvSpPr>
          <p:spPr>
            <a:xfrm>
              <a:off x="215900" y="0"/>
              <a:ext cx="10346568" cy="2903789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10" name="TextBox 10"/>
            <p:cNvSpPr txBox="1"/>
            <p:nvPr/>
          </p:nvSpPr>
          <p:spPr>
            <a:xfrm>
              <a:off x="-1" y="61972"/>
              <a:ext cx="10562469" cy="35277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383942" lvl="1" indent="-191971" algn="just" defTabSz="1219170">
                <a:lnSpc>
                  <a:spcPts val="2668"/>
                </a:lnSpc>
                <a:buClr>
                  <a:srgbClr val="000000"/>
                </a:buClr>
                <a:buFont typeface="Arial"/>
                <a:buChar char="•"/>
              </a:pPr>
              <a:r>
                <a:rPr lang="en-US" sz="1779" b="1" kern="0" spc="15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國內以油電燃氣業、鋼鐵業、航運業、塑膠工業的環境成本占淨利比最高</a:t>
              </a:r>
              <a:r>
                <a:rPr lang="zh-TW" altLang="en-US" sz="1779" b="1" kern="0" spc="15" dirty="0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。</a:t>
              </a:r>
              <a:endParaRPr lang="en-US" sz="1779" b="1" kern="0" spc="15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endParaRPr>
            </a:p>
            <a:p>
              <a:pPr marL="383942" lvl="1" indent="-191971" algn="just" defTabSz="1219170">
                <a:lnSpc>
                  <a:spcPts val="2668"/>
                </a:lnSpc>
                <a:buClr>
                  <a:srgbClr val="000000"/>
                </a:buClr>
                <a:buFont typeface="Arial"/>
                <a:buChar char="•"/>
              </a:pPr>
              <a:r>
                <a:rPr lang="en-US" sz="1779" b="1" kern="0" spc="15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其次為化學工業、紡織工業、橡膠工業、通信網路業、食品工業</a:t>
              </a:r>
              <a:r>
                <a:rPr lang="en-US" sz="1779" b="1" kern="0" spc="15" dirty="0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。</a:t>
              </a:r>
            </a:p>
            <a:p>
              <a:pPr algn="just" defTabSz="1219170">
                <a:lnSpc>
                  <a:spcPts val="3368"/>
                </a:lnSpc>
                <a:buClr>
                  <a:srgbClr val="000000"/>
                </a:buClr>
              </a:pPr>
              <a:endParaRPr lang="en-US" sz="1779" kern="0" spc="15" dirty="0">
                <a:solidFill>
                  <a:srgbClr val="FFFFFF"/>
                </a:solidFill>
                <a:latin typeface="Arial"/>
                <a:ea typeface="Glacial Indifference Bold"/>
                <a:cs typeface="Arial"/>
                <a:sym typeface="Arial"/>
              </a:endParaRPr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12030603" y="6659598"/>
            <a:ext cx="108744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7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418645" y="451829"/>
            <a:ext cx="6657660" cy="3317027"/>
          </a:xfrm>
          <a:prstGeom prst="rect">
            <a:avLst/>
          </a:prstGeom>
        </p:spPr>
      </p:pic>
      <p:pic>
        <p:nvPicPr>
          <p:cNvPr id="4" name="Picture 4"/>
          <p:cNvPicPr>
            <a:picLocks noChangeAspect="1"/>
          </p:cNvPicPr>
          <p:nvPr/>
        </p:nvPicPr>
        <p:blipFill>
          <a:blip r:embed="rId5"/>
          <a:srcRect l="32003" b="24748"/>
          <a:stretch>
            <a:fillRect/>
          </a:stretch>
        </p:blipFill>
        <p:spPr>
          <a:xfrm>
            <a:off x="6742048" y="6508471"/>
            <a:ext cx="5449952" cy="491197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5507229" y="3429000"/>
            <a:ext cx="6480492" cy="3117643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1055474" y="4594355"/>
            <a:ext cx="5040527" cy="12824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2493"/>
              </a:lnSpc>
              <a:buClr>
                <a:srgbClr val="000000"/>
              </a:buClr>
            </a:pPr>
            <a:r>
              <a:rPr lang="en-US" sz="2225" b="1" kern="0" dirty="0" err="1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國際環境成本佔EBITDA比例</a:t>
            </a:r>
            <a:endParaRPr lang="en-US" sz="2225" b="1" kern="0" dirty="0">
              <a:solidFill>
                <a:srgbClr val="2779C8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  <a:p>
            <a:pPr algn="ctr" defTabSz="1219170">
              <a:lnSpc>
                <a:spcPts val="2493"/>
              </a:lnSpc>
              <a:buClr>
                <a:srgbClr val="000000"/>
              </a:buClr>
            </a:pPr>
            <a:r>
              <a:rPr lang="en-US" sz="2225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 </a:t>
            </a:r>
            <a:r>
              <a:rPr lang="zh-TW" altLang="en-US" sz="2225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（</a:t>
            </a:r>
            <a:r>
              <a:rPr lang="en-US" sz="2225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全球800家企業，22項環境</a:t>
            </a:r>
          </a:p>
          <a:p>
            <a:pPr algn="ctr" defTabSz="1219170">
              <a:lnSpc>
                <a:spcPts val="2493"/>
              </a:lnSpc>
              <a:buClr>
                <a:srgbClr val="000000"/>
              </a:buClr>
            </a:pPr>
            <a:r>
              <a:rPr lang="en-US" sz="2225" b="1" kern="0" dirty="0" err="1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衝擊指標</a:t>
            </a:r>
            <a:r>
              <a:rPr lang="zh-TW" altLang="en-US" sz="2225" b="1" kern="0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）</a:t>
            </a:r>
            <a:endParaRPr lang="en-US" sz="2225" b="1" kern="0" dirty="0">
              <a:solidFill>
                <a:srgbClr val="2779C8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  <a:p>
            <a:pPr algn="ctr" defTabSz="1219170">
              <a:lnSpc>
                <a:spcPts val="2493"/>
              </a:lnSpc>
              <a:buClr>
                <a:srgbClr val="000000"/>
              </a:buClr>
            </a:pPr>
            <a:endParaRPr lang="en-US" sz="2225" b="1" kern="0" dirty="0">
              <a:solidFill>
                <a:srgbClr val="2779C8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7" name="Group 7"/>
          <p:cNvGrpSpPr/>
          <p:nvPr/>
        </p:nvGrpSpPr>
        <p:grpSpPr>
          <a:xfrm>
            <a:off x="310041" y="1097399"/>
            <a:ext cx="1126145" cy="4663204"/>
            <a:chOff x="0" y="0"/>
            <a:chExt cx="2252291" cy="9326407"/>
          </a:xfrm>
        </p:grpSpPr>
        <p:sp>
          <p:nvSpPr>
            <p:cNvPr id="8" name="AutoShape 8"/>
            <p:cNvSpPr/>
            <p:nvPr/>
          </p:nvSpPr>
          <p:spPr>
            <a:xfrm>
              <a:off x="0" y="0"/>
              <a:ext cx="2252291" cy="9326407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194970" y="1588296"/>
              <a:ext cx="901440" cy="610423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1219170">
                <a:lnSpc>
                  <a:spcPts val="3417"/>
                </a:lnSpc>
                <a:spcBef>
                  <a:spcPct val="0"/>
                </a:spcBef>
                <a:buClr>
                  <a:srgbClr val="000000"/>
                </a:buClr>
              </a:pPr>
              <a:r>
                <a:rPr lang="en-US" sz="3136" b="1" kern="0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國內外環境成本</a:t>
              </a:r>
              <a:endParaRPr lang="en-US" sz="3136" b="1" kern="0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1096410" y="1597822"/>
              <a:ext cx="960908" cy="697626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1219170">
                <a:lnSpc>
                  <a:spcPts val="3371"/>
                </a:lnSpc>
                <a:spcBef>
                  <a:spcPct val="0"/>
                </a:spcBef>
                <a:buClr>
                  <a:srgbClr val="000000"/>
                </a:buClr>
              </a:pPr>
              <a:r>
                <a:rPr lang="en-US" sz="3092" b="1" kern="0" dirty="0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佔</a:t>
              </a:r>
            </a:p>
            <a:p>
              <a:pPr algn="ctr" defTabSz="1219170">
                <a:lnSpc>
                  <a:spcPts val="3371"/>
                </a:lnSpc>
                <a:spcBef>
                  <a:spcPct val="0"/>
                </a:spcBef>
                <a:buClr>
                  <a:srgbClr val="000000"/>
                </a:buClr>
              </a:pPr>
              <a:r>
                <a:rPr lang="en-US" sz="3092" b="1" kern="0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淨利比例的比較</a:t>
              </a:r>
              <a:endParaRPr lang="en-US" sz="3092" b="1" kern="0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endParaRPr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2471235" y="1868276"/>
            <a:ext cx="1911379" cy="30777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2427"/>
              </a:lnSpc>
              <a:buClr>
                <a:srgbClr val="000000"/>
              </a:buClr>
            </a:pPr>
            <a:r>
              <a:rPr lang="en-US" sz="2225" b="1" kern="0" dirty="0" err="1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國內</a:t>
            </a:r>
            <a:endParaRPr lang="en-US" sz="2225" b="1" kern="0" dirty="0">
              <a:solidFill>
                <a:srgbClr val="2779C8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TextBox 12"/>
          <p:cNvSpPr txBox="1"/>
          <p:nvPr/>
        </p:nvSpPr>
        <p:spPr>
          <a:xfrm>
            <a:off x="3781412" y="6628489"/>
            <a:ext cx="6986669" cy="1538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1195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195" kern="0">
                <a:solidFill>
                  <a:srgbClr val="000000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資料來源：Trucost 2012</a:t>
            </a:r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sp>
        <p:nvSpPr>
          <p:cNvPr id="14" name="TextBox 14"/>
          <p:cNvSpPr txBox="1"/>
          <p:nvPr/>
        </p:nvSpPr>
        <p:spPr>
          <a:xfrm>
            <a:off x="11987720" y="6405506"/>
            <a:ext cx="110133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000000"/>
                </a:solidFill>
                <a:latin typeface="Glacial Indifference Bold"/>
                <a:cs typeface="Arial"/>
                <a:sym typeface="Arial"/>
              </a:rPr>
              <a:t>8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sp>
        <p:nvSpPr>
          <p:cNvPr id="3" name="AutoShape 3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441657" y="1595706"/>
            <a:ext cx="9308689" cy="4510111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0" y="605021"/>
            <a:ext cx="12192000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3371"/>
              </a:lnSpc>
              <a:buClr>
                <a:srgbClr val="000000"/>
              </a:buClr>
            </a:pPr>
            <a:r>
              <a:rPr lang="en-US" sz="3092" b="1" kern="0" dirty="0" err="1">
                <a:solidFill>
                  <a:srgbClr val="2779C8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碳定價將決定企業的經濟競爭力</a:t>
            </a:r>
            <a:endParaRPr lang="en-US" sz="3092" b="1" kern="0" dirty="0">
              <a:solidFill>
                <a:srgbClr val="2779C8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11116341" y="-17122"/>
            <a:ext cx="1022015" cy="1022015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0035631" y="94511"/>
            <a:ext cx="1261135" cy="713087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12028817" y="6659598"/>
            <a:ext cx="112316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rPr>
              <a:t>9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1" y="301726"/>
            <a:ext cx="7403844" cy="768151"/>
            <a:chOff x="0" y="0"/>
            <a:chExt cx="14807688" cy="1536302"/>
          </a:xfrm>
        </p:grpSpPr>
        <p:sp>
          <p:nvSpPr>
            <p:cNvPr id="4" name="AutoShape 4"/>
            <p:cNvSpPr/>
            <p:nvPr/>
          </p:nvSpPr>
          <p:spPr>
            <a:xfrm>
              <a:off x="0" y="0"/>
              <a:ext cx="14807688" cy="1536302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179720" y="188352"/>
              <a:ext cx="13981336" cy="106683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 defTabSz="1219170">
                <a:lnSpc>
                  <a:spcPts val="4640"/>
                </a:lnSpc>
                <a:buClr>
                  <a:srgbClr val="000000"/>
                </a:buClr>
              </a:pPr>
              <a:r>
                <a:rPr lang="en-US" sz="3093" b="1" kern="0" spc="25" dirty="0" err="1">
                  <a:solidFill>
                    <a:srgbClr val="FFFFFF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/>
                  <a:sym typeface="Arial"/>
                </a:rPr>
                <a:t>企業範疇二排放佔總排放量高</a:t>
              </a:r>
              <a:endParaRPr lang="en-US" sz="3093" b="1" kern="0" spc="25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endParaRPr>
            </a:p>
          </p:txBody>
        </p:sp>
      </p:grpSp>
      <p:sp>
        <p:nvSpPr>
          <p:cNvPr id="6" name="AutoShape 6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533651" y="2695695"/>
            <a:ext cx="5783131" cy="3329471"/>
          </a:xfrm>
          <a:prstGeom prst="rect">
            <a:avLst/>
          </a:prstGeom>
        </p:spPr>
      </p:pic>
      <p:sp>
        <p:nvSpPr>
          <p:cNvPr id="8" name="TextBox 8"/>
          <p:cNvSpPr txBox="1"/>
          <p:nvPr/>
        </p:nvSpPr>
        <p:spPr>
          <a:xfrm>
            <a:off x="329216" y="1457287"/>
            <a:ext cx="11809139" cy="8586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defTabSz="1219170">
              <a:lnSpc>
                <a:spcPts val="3540"/>
              </a:lnSpc>
              <a:buClr>
                <a:srgbClr val="000000"/>
              </a:buClr>
            </a:pPr>
            <a:r>
              <a:rPr lang="en-US" sz="2492" b="1" kern="0" spc="-95" dirty="0">
                <a:solidFill>
                  <a:srgbClr val="2779C8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近一半企業（155家）範疇2排放佔自身排放量（範疇1+2）的90%以上；而有264家企業範疇2排放超過自身排放量的50%。</a:t>
            </a:r>
          </a:p>
        </p:txBody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11116341" y="-17122"/>
            <a:ext cx="1022015" cy="1022015"/>
          </a:xfrm>
          <a:prstGeom prst="rect">
            <a:avLst/>
          </a:prstGeom>
        </p:spPr>
      </p:pic>
      <p:pic>
        <p:nvPicPr>
          <p:cNvPr id="12" name="Picture 12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0035631" y="94511"/>
            <a:ext cx="1261135" cy="713087"/>
          </a:xfrm>
          <a:prstGeom prst="rect">
            <a:avLst/>
          </a:prstGeom>
        </p:spPr>
      </p:pic>
      <p:sp>
        <p:nvSpPr>
          <p:cNvPr id="13" name="TextBox 13"/>
          <p:cNvSpPr txBox="1"/>
          <p:nvPr/>
        </p:nvSpPr>
        <p:spPr>
          <a:xfrm>
            <a:off x="11938000" y="6663805"/>
            <a:ext cx="254000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0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" y="1004892"/>
            <a:ext cx="12638265" cy="5915267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>
            <a:alphaModFix amt="68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2685" b="77411"/>
          <a:stretch>
            <a:fillRect/>
          </a:stretch>
        </p:blipFill>
        <p:spPr>
          <a:xfrm>
            <a:off x="10071844" y="6659598"/>
            <a:ext cx="586897" cy="188945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5712138" y="511597"/>
            <a:ext cx="5982597" cy="1074755"/>
            <a:chOff x="0" y="0"/>
            <a:chExt cx="11965195" cy="2149509"/>
          </a:xfrm>
        </p:grpSpPr>
        <p:sp>
          <p:nvSpPr>
            <p:cNvPr id="5" name="AutoShape 5"/>
            <p:cNvSpPr/>
            <p:nvPr/>
          </p:nvSpPr>
          <p:spPr>
            <a:xfrm>
              <a:off x="0" y="0"/>
              <a:ext cx="11965195" cy="2149509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6" name="TextBox 6"/>
            <p:cNvSpPr txBox="1"/>
            <p:nvPr/>
          </p:nvSpPr>
          <p:spPr>
            <a:xfrm>
              <a:off x="667722" y="192988"/>
              <a:ext cx="11297473" cy="161082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 defTabSz="1219170">
                <a:lnSpc>
                  <a:spcPts val="3312"/>
                </a:lnSpc>
                <a:buClr>
                  <a:srgbClr val="000000"/>
                </a:buClr>
              </a:pPr>
              <a:r>
                <a:rPr lang="en-US" sz="2208" b="1" kern="0" spc="17" dirty="0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所有行業別範疇二排放總量約為5,800萬噸，約佔整體碳排總量1億6,270萬噸的35%。</a:t>
              </a:r>
            </a:p>
          </p:txBody>
        </p:sp>
      </p:grpSp>
      <p:sp>
        <p:nvSpPr>
          <p:cNvPr id="7" name="AutoShape 7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8" name="Picture 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0" y="6415712"/>
            <a:ext cx="2408613" cy="442289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11887200" y="6651105"/>
            <a:ext cx="279400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1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Google Shape;728;p108"/>
          <p:cNvSpPr txBox="1">
            <a:spLocks noGrp="1"/>
          </p:cNvSpPr>
          <p:nvPr>
            <p:ph type="title"/>
          </p:nvPr>
        </p:nvSpPr>
        <p:spPr>
          <a:xfrm>
            <a:off x="512418" y="282151"/>
            <a:ext cx="10548133" cy="648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rmAutofit fontScale="90000"/>
          </a:bodyPr>
          <a:lstStyle/>
          <a:p>
            <a:pPr>
              <a:spcBef>
                <a:spcPts val="0"/>
              </a:spcBef>
              <a:buClr>
                <a:srgbClr val="002060"/>
              </a:buClr>
              <a:buSzPts val="2400"/>
            </a:pPr>
            <a:r>
              <a:rPr lang="zh-TW" dirty="0">
                <a:latin typeface="Microsoft JhengHei"/>
                <a:ea typeface="Microsoft JhengHei"/>
                <a:cs typeface="Microsoft JhengHei"/>
                <a:sym typeface="Microsoft JhengHei"/>
              </a:rPr>
              <a:t>自我介紹</a:t>
            </a:r>
            <a:endParaRPr dirty="0"/>
          </a:p>
        </p:txBody>
      </p:sp>
      <p:sp>
        <p:nvSpPr>
          <p:cNvPr id="729" name="Google Shape;729;p108"/>
          <p:cNvSpPr txBox="1">
            <a:spLocks noGrp="1"/>
          </p:cNvSpPr>
          <p:nvPr>
            <p:ph type="body" idx="1"/>
          </p:nvPr>
        </p:nvSpPr>
        <p:spPr>
          <a:xfrm>
            <a:off x="512418" y="1380517"/>
            <a:ext cx="7103165" cy="497583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t" anchorCtr="0">
            <a:normAutofit/>
          </a:bodyPr>
          <a:lstStyle/>
          <a:p>
            <a:pPr marL="285752" indent="-285752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環境和法律經濟學者</a:t>
            </a:r>
            <a:endParaRPr lang="en-US" altLang="zh-TW" sz="1867" b="1" dirty="0">
              <a:ea typeface="微軟正黑體" panose="020B0604030504040204" pitchFamily="34" charset="-120"/>
              <a:cs typeface="Times New Roman"/>
              <a:sym typeface="Times New Roman"/>
            </a:endParaRPr>
          </a:p>
          <a:p>
            <a:pPr marL="285752" indent="-285752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綠色經濟研究中心主任</a:t>
            </a:r>
            <a:endParaRPr lang="en-US" altLang="zh-TW" sz="1867" b="1" dirty="0">
              <a:ea typeface="微軟正黑體" panose="020B0604030504040204" pitchFamily="34" charset="-120"/>
              <a:cs typeface="Times New Roman"/>
              <a:sym typeface="Times New Roman"/>
            </a:endParaRPr>
          </a:p>
          <a:p>
            <a:pPr marL="285752" indent="-285752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曾擔任</a:t>
            </a:r>
            <a:r>
              <a:rPr lang="en-US" altLang="zh-TW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WTO</a:t>
            </a: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中心副執行長及國際經濟所研究員</a:t>
            </a:r>
            <a:endParaRPr lang="en-US" altLang="zh-TW" sz="1867" b="1" dirty="0">
              <a:ea typeface="微軟正黑體" panose="020B0604030504040204" pitchFamily="34" charset="-120"/>
              <a:cs typeface="Times New Roman"/>
              <a:sym typeface="Times New Roman"/>
            </a:endParaRPr>
          </a:p>
          <a:p>
            <a:pPr marL="285752" indent="-285752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曾擔任經濟部推動綠色貿易專案辦公室副執行長</a:t>
            </a:r>
            <a:endParaRPr lang="en-US" altLang="zh-TW" sz="1867" b="1" dirty="0">
              <a:ea typeface="微軟正黑體" panose="020B0604030504040204" pitchFamily="34" charset="-120"/>
              <a:cs typeface="Times New Roman"/>
              <a:sym typeface="Times New Roman"/>
            </a:endParaRPr>
          </a:p>
          <a:p>
            <a:pPr marL="285752" indent="-285752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曾榮獲中央社</a:t>
            </a:r>
            <a:r>
              <a:rPr lang="en-US" altLang="zh-TW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2008</a:t>
            </a: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年的台灣企管類十大潛力人物獎；及</a:t>
            </a:r>
            <a:r>
              <a:rPr lang="en-US" altLang="zh-TW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1998</a:t>
            </a: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年和</a:t>
            </a:r>
            <a:r>
              <a:rPr lang="en-US" altLang="zh-TW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1999</a:t>
            </a: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年得過國科會研究獎</a:t>
            </a:r>
            <a:endParaRPr lang="en-US" altLang="zh-TW" sz="1867" b="1" dirty="0">
              <a:ea typeface="微軟正黑體" panose="020B0604030504040204" pitchFamily="34" charset="-120"/>
              <a:cs typeface="Times New Roman"/>
              <a:sym typeface="Times New Roman"/>
            </a:endParaRPr>
          </a:p>
          <a:p>
            <a:pPr marL="285752" indent="-285752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ct val="100000"/>
              <a:buFont typeface="Noto Sans Symbols"/>
              <a:buChar char="■"/>
            </a:pPr>
            <a:r>
              <a:rPr lang="zh-TW" altLang="en-US" sz="1867" b="1" dirty="0">
                <a:ea typeface="微軟正黑體" panose="020B0604030504040204" pitchFamily="34" charset="-120"/>
                <a:cs typeface="Times New Roman"/>
                <a:sym typeface="Times New Roman"/>
              </a:rPr>
              <a:t>著「環境保護的成本效益分析－理論、方法及應用」，以及譯「法律經濟學」</a:t>
            </a:r>
            <a:endParaRPr b="1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30" name="Google Shape;730;p108"/>
          <p:cNvSpPr txBox="1">
            <a:spLocks noGrp="1"/>
          </p:cNvSpPr>
          <p:nvPr>
            <p:ph type="sldNum" idx="12"/>
          </p:nvPr>
        </p:nvSpPr>
        <p:spPr>
          <a:xfrm>
            <a:off x="11760000" y="6356350"/>
            <a:ext cx="2275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60933" rIns="121900" bIns="60933" rtlCol="0" anchor="ctr" anchorCtr="0">
            <a:noAutofit/>
          </a:bodyPr>
          <a:lstStyle/>
          <a:p>
            <a:fld id="{00000000-1234-1234-1234-123412341234}" type="slidenum">
              <a:rPr lang="en-US" altLang="zh-TW" sz="1600" b="1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pPr/>
              <a:t>2</a:t>
            </a:fld>
            <a:endParaRPr sz="1600" b="1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D528D9F5-2BE8-4351-404E-05F2219F25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0723" y="1380518"/>
            <a:ext cx="3333309" cy="45473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1"/>
            <a:ext cx="12192000" cy="2382607"/>
            <a:chOff x="0" y="0"/>
            <a:chExt cx="24384000" cy="4765213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/>
            <a:srcRect t="42401" b="28285"/>
            <a:stretch>
              <a:fillRect/>
            </a:stretch>
          </p:blipFill>
          <p:spPr>
            <a:xfrm>
              <a:off x="0" y="0"/>
              <a:ext cx="24384000" cy="4765213"/>
            </a:xfrm>
            <a:prstGeom prst="rect">
              <a:avLst/>
            </a:prstGeom>
          </p:spPr>
        </p:pic>
      </p:grpSp>
      <p:pic>
        <p:nvPicPr>
          <p:cNvPr id="4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6346" b="71876"/>
          <a:stretch>
            <a:fillRect/>
          </a:stretch>
        </p:blipFill>
        <p:spPr>
          <a:xfrm>
            <a:off x="11306560" y="98742"/>
            <a:ext cx="1626856" cy="479980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13347" b="33552"/>
          <a:stretch>
            <a:fillRect/>
          </a:stretch>
        </p:blipFill>
        <p:spPr>
          <a:xfrm>
            <a:off x="418507" y="5752208"/>
            <a:ext cx="950584" cy="716179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-485368" y="424922"/>
            <a:ext cx="1587616" cy="307601"/>
          </a:xfrm>
          <a:prstGeom prst="rect">
            <a:avLst/>
          </a:prstGeom>
        </p:spPr>
      </p:pic>
      <p:grpSp>
        <p:nvGrpSpPr>
          <p:cNvPr id="7" name="Group 7"/>
          <p:cNvGrpSpPr/>
          <p:nvPr/>
        </p:nvGrpSpPr>
        <p:grpSpPr>
          <a:xfrm>
            <a:off x="171452" y="3379235"/>
            <a:ext cx="3313193" cy="2310458"/>
            <a:chOff x="0" y="0"/>
            <a:chExt cx="6626386" cy="4620915"/>
          </a:xfrm>
        </p:grpSpPr>
        <p:sp>
          <p:nvSpPr>
            <p:cNvPr id="8" name="AutoShape 8"/>
            <p:cNvSpPr/>
            <p:nvPr/>
          </p:nvSpPr>
          <p:spPr>
            <a:xfrm>
              <a:off x="0" y="0"/>
              <a:ext cx="6626386" cy="4055414"/>
            </a:xfrm>
            <a:prstGeom prst="rect">
              <a:avLst/>
            </a:prstGeom>
            <a:solidFill>
              <a:srgbClr val="2779C8"/>
            </a:solidFill>
          </p:spPr>
        </p:sp>
        <p:sp>
          <p:nvSpPr>
            <p:cNvPr id="9" name="TextBox 9"/>
            <p:cNvSpPr txBox="1"/>
            <p:nvPr/>
          </p:nvSpPr>
          <p:spPr>
            <a:xfrm>
              <a:off x="0" y="1001334"/>
              <a:ext cx="6626386" cy="36195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 defTabSz="1219170">
                <a:lnSpc>
                  <a:spcPts val="4836"/>
                </a:lnSpc>
                <a:buClr>
                  <a:srgbClr val="000000"/>
                </a:buClr>
              </a:pPr>
              <a:r>
                <a:rPr lang="en-US" sz="3455" b="1" kern="0" dirty="0">
                  <a:solidFill>
                    <a:srgbClr val="FFFFFF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rPr>
                <a:t>2020年各國電力排放係數</a:t>
              </a:r>
            </a:p>
            <a:p>
              <a:pPr algn="ctr" defTabSz="1219170">
                <a:lnSpc>
                  <a:spcPts val="4836"/>
                </a:lnSpc>
                <a:spcBef>
                  <a:spcPct val="0"/>
                </a:spcBef>
                <a:buClr>
                  <a:srgbClr val="000000"/>
                </a:buClr>
              </a:pPr>
              <a:endParaRPr lang="en-US" sz="3455" kern="0" dirty="0">
                <a:solidFill>
                  <a:srgbClr val="FFFFFF"/>
                </a:solidFill>
                <a:latin typeface="Glacial Indifference Bold"/>
                <a:cs typeface="Arial"/>
                <a:sym typeface="Arial"/>
              </a:endParaRPr>
            </a:p>
          </p:txBody>
        </p:sp>
      </p:grpSp>
      <p:pic>
        <p:nvPicPr>
          <p:cNvPr id="10" name="Picture 10"/>
          <p:cNvPicPr>
            <a:picLocks noChangeAspect="1"/>
          </p:cNvPicPr>
          <p:nvPr/>
        </p:nvPicPr>
        <p:blipFill>
          <a:blip r:embed="rId9"/>
          <a:srcRect l="52076"/>
          <a:stretch>
            <a:fillRect/>
          </a:stretch>
        </p:blipFill>
        <p:spPr>
          <a:xfrm>
            <a:off x="7902341" y="2615830"/>
            <a:ext cx="4113571" cy="3934685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9"/>
          <a:srcRect r="52315"/>
          <a:stretch>
            <a:fillRect/>
          </a:stretch>
        </p:blipFill>
        <p:spPr>
          <a:xfrm>
            <a:off x="3675538" y="2615830"/>
            <a:ext cx="4093061" cy="3934685"/>
          </a:xfrm>
          <a:prstGeom prst="rect">
            <a:avLst/>
          </a:prstGeom>
        </p:spPr>
      </p:pic>
      <p:grpSp>
        <p:nvGrpSpPr>
          <p:cNvPr id="12" name="Group 12"/>
          <p:cNvGrpSpPr/>
          <p:nvPr/>
        </p:nvGrpSpPr>
        <p:grpSpPr>
          <a:xfrm>
            <a:off x="0" y="1"/>
            <a:ext cx="12338283" cy="2382607"/>
            <a:chOff x="0" y="0"/>
            <a:chExt cx="4874383" cy="941277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874383" cy="941277"/>
            </a:xfrm>
            <a:custGeom>
              <a:avLst/>
              <a:gdLst/>
              <a:ahLst/>
              <a:cxnLst/>
              <a:rect l="l" t="t" r="r" b="b"/>
              <a:pathLst>
                <a:path w="4874383" h="941277">
                  <a:moveTo>
                    <a:pt x="0" y="0"/>
                  </a:moveTo>
                  <a:lnTo>
                    <a:pt x="4874383" y="0"/>
                  </a:lnTo>
                  <a:lnTo>
                    <a:pt x="4874383" y="941277"/>
                  </a:lnTo>
                  <a:lnTo>
                    <a:pt x="0" y="941277"/>
                  </a:lnTo>
                  <a:close/>
                </a:path>
              </a:pathLst>
            </a:custGeom>
            <a:solidFill>
              <a:srgbClr val="2779C8">
                <a:alpha val="17647"/>
              </a:srgbClr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0" y="38100"/>
              <a:ext cx="812800" cy="7747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1219170">
                <a:lnSpc>
                  <a:spcPts val="1595"/>
                </a:lnSpc>
                <a:buClr>
                  <a:srgbClr val="000000"/>
                </a:buClr>
              </a:pPr>
              <a:endParaRPr sz="933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5" name="TextBox 15"/>
          <p:cNvSpPr txBox="1"/>
          <p:nvPr/>
        </p:nvSpPr>
        <p:spPr>
          <a:xfrm>
            <a:off x="7902341" y="6675272"/>
            <a:ext cx="2976960" cy="1538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1195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195" kern="0">
                <a:solidFill>
                  <a:srgbClr val="000000"/>
                </a:solidFill>
                <a:latin typeface="Arial"/>
                <a:ea typeface="Glacial Indifference"/>
                <a:cs typeface="Arial"/>
                <a:sym typeface="Arial"/>
              </a:rPr>
              <a:t>資料來源：彙整自Carbon footprint（2022）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11938000" y="6651105"/>
            <a:ext cx="254000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2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955985" y="781628"/>
            <a:ext cx="3152552" cy="5626256"/>
          </a:xfrm>
          <a:prstGeom prst="rect">
            <a:avLst/>
          </a:prstGeom>
          <a:solidFill>
            <a:srgbClr val="2779C8"/>
          </a:solidFill>
        </p:spPr>
      </p:sp>
      <p:grpSp>
        <p:nvGrpSpPr>
          <p:cNvPr id="3" name="Group 3"/>
          <p:cNvGrpSpPr/>
          <p:nvPr/>
        </p:nvGrpSpPr>
        <p:grpSpPr>
          <a:xfrm>
            <a:off x="-71900" y="0"/>
            <a:ext cx="3776408" cy="7008747"/>
            <a:chOff x="0" y="0"/>
            <a:chExt cx="7552815" cy="14017493"/>
          </a:xfrm>
        </p:grpSpPr>
        <p:pic>
          <p:nvPicPr>
            <p:cNvPr id="4" name="Picture 4"/>
            <p:cNvPicPr>
              <a:picLocks noChangeAspect="1"/>
            </p:cNvPicPr>
            <p:nvPr/>
          </p:nvPicPr>
          <p:blipFill>
            <a:blip r:embed="rId2"/>
            <a:srcRect l="61124" r="20892"/>
            <a:stretch>
              <a:fillRect/>
            </a:stretch>
          </p:blipFill>
          <p:spPr>
            <a:xfrm>
              <a:off x="0" y="0"/>
              <a:ext cx="7552815" cy="14017493"/>
            </a:xfrm>
            <a:prstGeom prst="rect">
              <a:avLst/>
            </a:prstGeom>
          </p:spPr>
        </p:pic>
      </p:grpSp>
      <p:sp>
        <p:nvSpPr>
          <p:cNvPr id="5" name="AutoShape 5"/>
          <p:cNvSpPr/>
          <p:nvPr/>
        </p:nvSpPr>
        <p:spPr>
          <a:xfrm>
            <a:off x="4761069" y="849497"/>
            <a:ext cx="5086857" cy="1570311"/>
          </a:xfrm>
          <a:prstGeom prst="rect">
            <a:avLst/>
          </a:prstGeom>
          <a:solidFill>
            <a:srgbClr val="2779C8"/>
          </a:solidFill>
        </p:spPr>
      </p:sp>
      <p:sp>
        <p:nvSpPr>
          <p:cNvPr id="6" name="AutoShape 6"/>
          <p:cNvSpPr/>
          <p:nvPr/>
        </p:nvSpPr>
        <p:spPr>
          <a:xfrm>
            <a:off x="9645283" y="6659597"/>
            <a:ext cx="4098903" cy="521123"/>
          </a:xfrm>
          <a:prstGeom prst="rect">
            <a:avLst/>
          </a:prstGeom>
          <a:solidFill>
            <a:srgbClr val="2779C8"/>
          </a:solidFill>
        </p:spPr>
      </p:sp>
      <p:pic>
        <p:nvPicPr>
          <p:cNvPr id="7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4963" b="49219"/>
          <a:stretch>
            <a:fillRect/>
          </a:stretch>
        </p:blipFill>
        <p:spPr>
          <a:xfrm>
            <a:off x="10658741" y="339866"/>
            <a:ext cx="1179249" cy="691871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48580" b="51190"/>
          <a:stretch>
            <a:fillRect/>
          </a:stretch>
        </p:blipFill>
        <p:spPr>
          <a:xfrm>
            <a:off x="179007" y="184469"/>
            <a:ext cx="713063" cy="665027"/>
          </a:xfrm>
          <a:prstGeom prst="rect">
            <a:avLst/>
          </a:prstGeom>
        </p:spPr>
      </p:pic>
      <p:grpSp>
        <p:nvGrpSpPr>
          <p:cNvPr id="9" name="Group 9"/>
          <p:cNvGrpSpPr/>
          <p:nvPr/>
        </p:nvGrpSpPr>
        <p:grpSpPr>
          <a:xfrm>
            <a:off x="1" y="1"/>
            <a:ext cx="3704508" cy="6920159"/>
            <a:chOff x="0" y="0"/>
            <a:chExt cx="1463509" cy="2733890"/>
          </a:xfrm>
        </p:grpSpPr>
        <p:sp>
          <p:nvSpPr>
            <p:cNvPr id="10" name="Freeform 10"/>
            <p:cNvSpPr/>
            <p:nvPr/>
          </p:nvSpPr>
          <p:spPr>
            <a:xfrm>
              <a:off x="0" y="0"/>
              <a:ext cx="1463509" cy="2733890"/>
            </a:xfrm>
            <a:custGeom>
              <a:avLst/>
              <a:gdLst/>
              <a:ahLst/>
              <a:cxnLst/>
              <a:rect l="l" t="t" r="r" b="b"/>
              <a:pathLst>
                <a:path w="1463509" h="2733890">
                  <a:moveTo>
                    <a:pt x="0" y="0"/>
                  </a:moveTo>
                  <a:lnTo>
                    <a:pt x="1463509" y="0"/>
                  </a:lnTo>
                  <a:lnTo>
                    <a:pt x="1463509" y="2733890"/>
                  </a:lnTo>
                  <a:lnTo>
                    <a:pt x="0" y="2733890"/>
                  </a:lnTo>
                  <a:close/>
                </a:path>
              </a:pathLst>
            </a:custGeom>
            <a:solidFill>
              <a:srgbClr val="2779C8">
                <a:alpha val="17647"/>
              </a:srgbClr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38100"/>
              <a:ext cx="812800" cy="7747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 defTabSz="1219170">
                <a:lnSpc>
                  <a:spcPts val="1595"/>
                </a:lnSpc>
                <a:buClr>
                  <a:srgbClr val="000000"/>
                </a:buClr>
              </a:pPr>
              <a:endParaRPr sz="933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5059057" y="985155"/>
            <a:ext cx="4896588" cy="12266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4971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3551" b="1" kern="0" dirty="0" err="1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臺灣企業環境外部成本報告發展願景</a:t>
            </a:r>
            <a:endParaRPr lang="en-US" sz="3551" b="1" kern="0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13" name="TextBox 13"/>
          <p:cNvSpPr txBox="1"/>
          <p:nvPr/>
        </p:nvSpPr>
        <p:spPr>
          <a:xfrm>
            <a:off x="4263476" y="2853485"/>
            <a:ext cx="7606264" cy="3740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66584" lvl="1" indent="-233293" algn="just" defTabSz="1219170">
              <a:lnSpc>
                <a:spcPts val="3739"/>
              </a:lnSpc>
              <a:buClr>
                <a:srgbClr val="000000"/>
              </a:buClr>
              <a:buFont typeface="Arial"/>
              <a:buChar char="•"/>
            </a:pPr>
            <a:r>
              <a:rPr lang="en-US" sz="2160" kern="0" dirty="0" err="1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環境成本定價時代來臨</a:t>
            </a:r>
            <a:endParaRPr lang="en-US" sz="2160" kern="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466584" lvl="1" indent="-233293" algn="just" defTabSz="1219170">
              <a:lnSpc>
                <a:spcPts val="3739"/>
              </a:lnSpc>
              <a:buClr>
                <a:srgbClr val="000000"/>
              </a:buClr>
              <a:buFont typeface="Arial"/>
              <a:buChar char="•"/>
            </a:pPr>
            <a:r>
              <a:rPr lang="en-US" sz="2160" kern="0" dirty="0" err="1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納入環境其他範疇，如空氣污染、水污染、廢棄物衝擊指標作為企業永續資訊揭露內涵</a:t>
            </a:r>
            <a:endParaRPr lang="en-US" sz="2160" kern="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466584" lvl="1" indent="-233293" algn="just" defTabSz="1219170">
              <a:lnSpc>
                <a:spcPts val="3739"/>
              </a:lnSpc>
              <a:buClr>
                <a:srgbClr val="000000"/>
              </a:buClr>
              <a:buFont typeface="Arial"/>
              <a:buChar char="•"/>
            </a:pPr>
            <a:r>
              <a:rPr lang="en-US" sz="2160" kern="0" dirty="0" err="1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建立臺灣企業環境外部成本資料庫</a:t>
            </a:r>
            <a:endParaRPr lang="en-US" sz="2160" kern="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466584" lvl="1" indent="-233293" algn="just" defTabSz="1219170">
              <a:lnSpc>
                <a:spcPts val="3739"/>
              </a:lnSpc>
              <a:buClr>
                <a:srgbClr val="000000"/>
              </a:buClr>
              <a:buFont typeface="Arial"/>
              <a:buChar char="•"/>
            </a:pPr>
            <a:r>
              <a:rPr lang="en-US" sz="2160" kern="0" dirty="0" err="1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企業可瞭解環境政策的財務意涵，如碳邊境調整政策的負擔</a:t>
            </a:r>
            <a:endParaRPr lang="en-US" sz="2160" kern="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466584" lvl="1" indent="-233293" algn="just" defTabSz="1219170">
              <a:lnSpc>
                <a:spcPts val="3739"/>
              </a:lnSpc>
              <a:buClr>
                <a:srgbClr val="000000"/>
              </a:buClr>
              <a:buFont typeface="Arial"/>
              <a:buChar char="•"/>
            </a:pPr>
            <a:r>
              <a:rPr lang="en-US" sz="2160" kern="0" dirty="0" err="1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金融機構可據以判斷企業的真實價值，並做為未來資金導入的指標</a:t>
            </a:r>
            <a:endParaRPr lang="en-US" sz="2160" kern="0" dirty="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14" name="TextBox 16"/>
          <p:cNvSpPr txBox="1"/>
          <p:nvPr/>
        </p:nvSpPr>
        <p:spPr>
          <a:xfrm>
            <a:off x="11938000" y="6651105"/>
            <a:ext cx="254000" cy="2180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1219170">
              <a:lnSpc>
                <a:spcPts val="1700"/>
              </a:lnSpc>
              <a:spcBef>
                <a:spcPct val="0"/>
              </a:spcBef>
              <a:buClr>
                <a:srgbClr val="000000"/>
              </a:buClr>
            </a:pPr>
            <a:r>
              <a:rPr lang="en-US" sz="1559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3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E094F465-DD88-70E1-6FC9-0BAB96AC1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661AE6-32E0-4D9A-8B9E-05894A0EDE4A}" type="slidenum">
              <a:rPr lang="en-US" altLang="zh-TW" smtClean="0"/>
              <a:pPr>
                <a:defRPr/>
              </a:pPr>
              <a:t>22</a:t>
            </a:fld>
            <a:endParaRPr lang="en-US" altLang="zh-TW" dirty="0"/>
          </a:p>
        </p:txBody>
      </p:sp>
      <p:sp>
        <p:nvSpPr>
          <p:cNvPr id="7" name="文字版面配置區 6">
            <a:extLst>
              <a:ext uri="{FF2B5EF4-FFF2-40B4-BE49-F238E27FC236}">
                <a16:creationId xmlns:a16="http://schemas.microsoft.com/office/drawing/2014/main" id="{3A1F7B6A-F0F5-D35E-B930-85DF5DF971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r>
              <a:rPr kumimoji="1" lang="zh-TW" altLang="en-US" sz="44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經濟活動的永續標準</a:t>
            </a:r>
            <a:endParaRPr kumimoji="1" lang="en-US" altLang="zh-TW" sz="44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9847234"/>
      </p:ext>
    </p:extLst>
  </p:cSld>
  <p:clrMapOvr>
    <a:masterClrMapping/>
  </p:clrMapOvr>
  <p:transition spd="slow">
    <p:cover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E65A9EA-7A9B-404D-ACAE-199C6DCAC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歐盟永續分類標準</a:t>
            </a:r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00B7682C-75A2-4E4D-9A63-669448ED33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0000" y="6356350"/>
            <a:ext cx="2275200" cy="365125"/>
          </a:xfrm>
        </p:spPr>
        <p:txBody>
          <a:bodyPr/>
          <a:lstStyle>
            <a:defPPr>
              <a:defRPr lang="zh-TW"/>
            </a:defPPr>
            <a:lvl1pPr marL="0" algn="l" defTabSz="609585" rtl="0" eaLnBrk="1" latinLnBrk="0" hangingPunct="1">
              <a:defRPr sz="1333" b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CBD9E41-3741-4017-A2C2-A6D983F224CA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>
                <a:defRPr/>
              </a:pPr>
              <a:t>23</a:t>
            </a:fld>
            <a:endParaRPr lang="zh-TW" altLang="en-US" dirty="0">
              <a:solidFill>
                <a:prstClr val="white">
                  <a:lumMod val="50000"/>
                </a:prstClr>
              </a:solidFill>
              <a:ea typeface="新細明體" panose="02020500000000000000" pitchFamily="18" charset="-120"/>
              <a:sym typeface="Arial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6E547C0-2246-47A3-81F8-65B5C26A3C06}"/>
              </a:ext>
            </a:extLst>
          </p:cNvPr>
          <p:cNvSpPr/>
          <p:nvPr/>
        </p:nvSpPr>
        <p:spPr>
          <a:xfrm>
            <a:off x="773673" y="1387537"/>
            <a:ext cx="2608812" cy="624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zh-TW" altLang="en-US" sz="2133" b="1" dirty="0">
                <a:solidFill>
                  <a:prstClr val="white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背景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9F4ED73-3E04-475C-BAB0-93759B36331E}"/>
              </a:ext>
            </a:extLst>
          </p:cNvPr>
          <p:cNvSpPr/>
          <p:nvPr/>
        </p:nvSpPr>
        <p:spPr>
          <a:xfrm>
            <a:off x="773673" y="2142940"/>
            <a:ext cx="2608812" cy="398124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defTabSz="609585">
              <a:lnSpc>
                <a:spcPts val="3067"/>
              </a:lnSpc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以永續分類標準界定永續活動範圍，盼提供投資人與金融機構以量化資訊，判斷經濟活動是否永續的標準，並將資金引導至永續經濟活動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8A2E7DC1-CE0A-4E79-86CE-5A68DE783A5F}"/>
              </a:ext>
            </a:extLst>
          </p:cNvPr>
          <p:cNvSpPr/>
          <p:nvPr/>
        </p:nvSpPr>
        <p:spPr>
          <a:xfrm>
            <a:off x="3648329" y="1386173"/>
            <a:ext cx="2608812" cy="624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zh-TW" altLang="en-US" sz="2133" b="1" dirty="0">
                <a:solidFill>
                  <a:prstClr val="white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內容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F2F8E61-9A91-451F-8FE1-02DD41709CA4}"/>
              </a:ext>
            </a:extLst>
          </p:cNvPr>
          <p:cNvSpPr/>
          <p:nvPr/>
        </p:nvSpPr>
        <p:spPr>
          <a:xfrm>
            <a:off x="3648329" y="2142940"/>
            <a:ext cx="2608812" cy="398124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9178" indent="-239178" algn="just" defTabSz="609585">
              <a:lnSpc>
                <a:spcPts val="3067"/>
              </a:lnSpc>
              <a:buClr>
                <a:prstClr val="black"/>
              </a:buClr>
              <a:buFont typeface="Wingdings" panose="05000000000000000000" pitchFamily="2" charset="2"/>
              <a:buChar char="n"/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定義經濟活動的永續標準</a:t>
            </a:r>
          </a:p>
          <a:p>
            <a:pPr marL="239178" indent="-239178" algn="just" defTabSz="609585">
              <a:lnSpc>
                <a:spcPts val="3067"/>
              </a:lnSpc>
              <a:buClr>
                <a:prstClr val="black"/>
              </a:buClr>
              <a:buFont typeface="Wingdings" panose="05000000000000000000" pitchFamily="2" charset="2"/>
              <a:buChar char="n"/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提供企業及金融機構進行詳實資訊揭露，並提供給投資者、利害關係人及機構公開審閱，作為投資人的投資評估參考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993B0B1A-63EA-4105-BD80-9E2EFE3B1525}"/>
              </a:ext>
            </a:extLst>
          </p:cNvPr>
          <p:cNvSpPr/>
          <p:nvPr/>
        </p:nvSpPr>
        <p:spPr>
          <a:xfrm>
            <a:off x="6522985" y="1384809"/>
            <a:ext cx="4830777" cy="624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zh-TW" altLang="en-US" sz="2133" b="1" dirty="0">
                <a:solidFill>
                  <a:prstClr val="white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目的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85E0308-336F-4202-BB84-966FF660A43D}"/>
              </a:ext>
            </a:extLst>
          </p:cNvPr>
          <p:cNvSpPr/>
          <p:nvPr/>
        </p:nvSpPr>
        <p:spPr>
          <a:xfrm>
            <a:off x="6522984" y="2135069"/>
            <a:ext cx="4820595" cy="398589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9178" indent="-239178" algn="just" defTabSz="609585">
              <a:lnSpc>
                <a:spcPts val="3067"/>
              </a:lnSpc>
              <a:buClr>
                <a:prstClr val="black"/>
              </a:buClr>
              <a:buFont typeface="Wingdings" panose="05000000000000000000" pitchFamily="2" charset="2"/>
              <a:buChar char="n"/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使市場參與者和消費者瞭解哪些經濟活動永續</a:t>
            </a:r>
          </a:p>
          <a:p>
            <a:pPr marL="239178" indent="-239178" algn="just" defTabSz="609585">
              <a:lnSpc>
                <a:spcPts val="3067"/>
              </a:lnSpc>
              <a:buClr>
                <a:prstClr val="black"/>
              </a:buClr>
              <a:buFont typeface="Wingdings" panose="05000000000000000000" pitchFamily="2" charset="2"/>
              <a:buChar char="n"/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防止漂綠，以保護投資者和消費者</a:t>
            </a:r>
          </a:p>
          <a:p>
            <a:pPr marL="239178" indent="-239178" algn="just" defTabSz="609585">
              <a:lnSpc>
                <a:spcPts val="3067"/>
              </a:lnSpc>
              <a:buClr>
                <a:prstClr val="black"/>
              </a:buClr>
              <a:buFont typeface="Wingdings" panose="05000000000000000000" pitchFamily="2" charset="2"/>
              <a:buChar char="n"/>
              <a:defRPr/>
            </a:pP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提供穩固基礎</a:t>
            </a:r>
          </a:p>
          <a:p>
            <a:pPr marL="478355" indent="-239178" algn="just" defTabSz="609585">
              <a:lnSpc>
                <a:spcPts val="3067"/>
              </a:lnSpc>
              <a:defRPr/>
            </a:pPr>
            <a:r>
              <a:rPr lang="en-US" altLang="zh-TW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1.</a:t>
            </a: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協助資金流向永續投資</a:t>
            </a:r>
          </a:p>
          <a:p>
            <a:pPr marL="478355" indent="-239178" algn="just" defTabSz="609585">
              <a:lnSpc>
                <a:spcPts val="3067"/>
              </a:lnSpc>
              <a:defRPr/>
            </a:pPr>
            <a:r>
              <a:rPr lang="en-US" altLang="zh-TW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2.</a:t>
            </a: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管理因氣候變遷、環境惡化和社會問題引起的金融風險，並提高資訊透明度</a:t>
            </a:r>
          </a:p>
          <a:p>
            <a:pPr marL="478355" indent="-239178" algn="just" defTabSz="609585">
              <a:lnSpc>
                <a:spcPts val="3067"/>
              </a:lnSpc>
              <a:defRPr/>
            </a:pPr>
            <a:r>
              <a:rPr lang="en-US" altLang="zh-TW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3.</a:t>
            </a:r>
            <a:r>
              <a:rPr lang="zh-TW" altLang="en-US" sz="2000" dirty="0">
                <a:solidFill>
                  <a:prstClr val="black"/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sym typeface="Arial"/>
              </a:rPr>
              <a:t>透過規範標準的建立，長期規劃金融和經濟活動</a:t>
            </a:r>
          </a:p>
        </p:txBody>
      </p:sp>
    </p:spTree>
    <p:extLst>
      <p:ext uri="{BB962C8B-B14F-4D97-AF65-F5344CB8AC3E}">
        <p14:creationId xmlns:p14="http://schemas.microsoft.com/office/powerpoint/2010/main" val="1320343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949466" y="1596561"/>
          <a:ext cx="9990966" cy="4218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1224">
                  <a:extLst>
                    <a:ext uri="{9D8B030D-6E8A-4147-A177-3AD203B41FA5}">
                      <a16:colId xmlns:a16="http://schemas.microsoft.com/office/drawing/2014/main" val="3507025505"/>
                    </a:ext>
                  </a:extLst>
                </a:gridCol>
                <a:gridCol w="3598695">
                  <a:extLst>
                    <a:ext uri="{9D8B030D-6E8A-4147-A177-3AD203B41FA5}">
                      <a16:colId xmlns:a16="http://schemas.microsoft.com/office/drawing/2014/main" val="2803266079"/>
                    </a:ext>
                  </a:extLst>
                </a:gridCol>
                <a:gridCol w="3411047">
                  <a:extLst>
                    <a:ext uri="{9D8B030D-6E8A-4147-A177-3AD203B41FA5}">
                      <a16:colId xmlns:a16="http://schemas.microsoft.com/office/drawing/2014/main" val="2506586779"/>
                    </a:ext>
                  </a:extLst>
                </a:gridCol>
              </a:tblGrid>
              <a:tr h="436011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活動種類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技術篩選標準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9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範例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3768201"/>
                  </a:ext>
                </a:extLst>
              </a:tr>
              <a:tr h="820887">
                <a:tc>
                  <a:txBody>
                    <a:bodyPr/>
                    <a:lstStyle/>
                    <a:p>
                      <a:pPr marL="0" algn="l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本身為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低碳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之經濟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活動 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（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與</a:t>
                      </a:r>
                      <a:r>
                        <a:rPr lang="en-GB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50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年淨零碳經濟兼容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  <a:endParaRPr 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61290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較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為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穩定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且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長期的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標準</a:t>
                      </a:r>
                      <a:endParaRPr 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直接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零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碳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排放交通</a:t>
                      </a:r>
                      <a:endParaRPr lang="en-US" alt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7780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碳捕捉技術</a:t>
                      </a:r>
                      <a:endParaRPr 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9449161"/>
                  </a:ext>
                </a:extLst>
              </a:tr>
              <a:tr h="868680">
                <a:tc>
                  <a:txBody>
                    <a:bodyPr/>
                    <a:lstStyle/>
                    <a:p>
                      <a:pPr marL="0" marR="161290" indent="-180340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對</a:t>
                      </a:r>
                      <a:r>
                        <a:rPr lang="en-GB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50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年淨零排放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轉型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有貢獻的活動 但尚未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達到相當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水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380365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定期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檢視並滾動式修正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，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以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趨向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淨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零排放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目標</a:t>
                      </a:r>
                      <a:endParaRPr 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車輛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排放</a:t>
                      </a:r>
                      <a:r>
                        <a:rPr lang="en-GB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&lt;50gCO2e/km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以下</a:t>
                      </a:r>
                    </a:p>
                    <a:p>
                      <a:pPr marL="17780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建築物裝修</a:t>
                      </a:r>
                      <a:endParaRPr 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8863335"/>
                  </a:ext>
                </a:extLst>
              </a:tr>
              <a:tr h="2092960">
                <a:tc>
                  <a:txBody>
                    <a:bodyPr/>
                    <a:lstStyle/>
                    <a:p>
                      <a:pPr marL="0" marR="161290" indent="-180340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促進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述淨零目標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的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支持性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活動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147320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較為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穩定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且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長期的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標準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（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支持低碳活動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  <a:endParaRPr lang="en-US" alt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0" marR="147320" algn="just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定期修訂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以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趨向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淨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零排放（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支持淨零碳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轉型，但尚未</a:t>
                      </a: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達到相當</a:t>
                      </a:r>
                      <a:r>
                        <a:rPr lang="zh-TW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水準）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7800" marR="45339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再生能源設備、氫氣生產設備、電池、低碳運輸技術、建築節能設備等製造</a:t>
                      </a:r>
                      <a:endParaRPr lang="en-US" alt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77800" marR="453390" lvl="0" indent="-161925" algn="l">
                        <a:spcBef>
                          <a:spcPts val="600"/>
                        </a:spcBef>
                        <a:spcAft>
                          <a:spcPts val="0"/>
                        </a:spcAft>
                        <a:buSzPts val="1000"/>
                        <a:buFont typeface="Wingdings" panose="05000000000000000000" pitchFamily="2" charset="2"/>
                        <a:buChar char="n"/>
                        <a:tabLst>
                          <a:tab pos="177800" algn="l"/>
                        </a:tabLst>
                      </a:pPr>
                      <a:r>
                        <a:rPr lang="zh-TW" altLang="en-US" sz="19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支持低碳公路運輸、水運、機場之基礎設施布建</a:t>
                      </a:r>
                      <a:endParaRPr lang="en-US" altLang="zh-TW" sz="19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24149"/>
                  </a:ext>
                </a:extLst>
              </a:tr>
            </a:tbl>
          </a:graphicData>
        </a:graphic>
      </p:graphicFrame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481" y="106716"/>
            <a:ext cx="10632935" cy="1048843"/>
          </a:xfrm>
        </p:spPr>
        <p:txBody>
          <a:bodyPr>
            <a:norm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分類法下資金可導入之經濟活動 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11760000" y="6356350"/>
            <a:ext cx="2275200" cy="365125"/>
          </a:xfrm>
        </p:spPr>
        <p:txBody>
          <a:bodyPr/>
          <a:lstStyle>
            <a:defPPr>
              <a:defRPr lang="zh-TW"/>
            </a:defPPr>
            <a:lvl1pPr marL="0" algn="l" defTabSz="609585" rtl="0" eaLnBrk="1" latinLnBrk="0" hangingPunct="1">
              <a:defRPr sz="1333" b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CBD9E41-3741-4017-A2C2-A6D983F224CA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>
                <a:defRPr/>
              </a:pPr>
              <a:t>24</a:t>
            </a:fld>
            <a:endParaRPr lang="zh-TW" altLang="en-US" dirty="0">
              <a:solidFill>
                <a:prstClr val="white">
                  <a:lumMod val="50000"/>
                </a:prstClr>
              </a:solidFill>
              <a:latin typeface="Calibri Light" panose="020F0302020204030204"/>
              <a:ea typeface="新細明體" panose="02020500000000000000" pitchFamily="18" charset="-12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72922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1" y="299162"/>
            <a:ext cx="4216400" cy="6259679"/>
          </a:xfrm>
          <a:prstGeom prst="rect">
            <a:avLst/>
          </a:prstGeom>
          <a:solidFill>
            <a:srgbClr val="171710">
              <a:alpha val="4706"/>
            </a:srgbClr>
          </a:solidFill>
        </p:spPr>
      </p:sp>
      <p:sp>
        <p:nvSpPr>
          <p:cNvPr id="16" name="TextBox 16"/>
          <p:cNvSpPr txBox="1"/>
          <p:nvPr/>
        </p:nvSpPr>
        <p:spPr>
          <a:xfrm>
            <a:off x="523683" y="2324123"/>
            <a:ext cx="4624517" cy="1576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585">
              <a:lnSpc>
                <a:spcPts val="6400"/>
              </a:lnSpc>
              <a:defRPr/>
            </a:pPr>
            <a:r>
              <a:rPr lang="zh-TW" altLang="en-US" sz="4267" b="1" dirty="0">
                <a:solidFill>
                  <a:srgbClr val="3E4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永續經濟活動</a:t>
            </a:r>
            <a:endParaRPr lang="en-US" altLang="zh-TW" sz="4267" b="1" dirty="0">
              <a:solidFill>
                <a:srgbClr val="3E444B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defTabSz="609585">
              <a:lnSpc>
                <a:spcPts val="6400"/>
              </a:lnSpc>
              <a:defRPr/>
            </a:pPr>
            <a:r>
              <a:rPr lang="zh-TW" altLang="en-US" sz="4267" b="1" dirty="0">
                <a:solidFill>
                  <a:srgbClr val="3E4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三大評估準則</a:t>
            </a:r>
            <a:endParaRPr lang="en-US" sz="4267" b="1" dirty="0">
              <a:solidFill>
                <a:srgbClr val="3E444B"/>
              </a:solidFill>
              <a:latin typeface="Calibri" panose="020F0502020204030204"/>
              <a:cs typeface="Arial"/>
              <a:sym typeface="Arial"/>
            </a:endParaRPr>
          </a:p>
        </p:txBody>
      </p:sp>
      <p:grpSp>
        <p:nvGrpSpPr>
          <p:cNvPr id="87" name="群組 86"/>
          <p:cNvGrpSpPr/>
          <p:nvPr/>
        </p:nvGrpSpPr>
        <p:grpSpPr>
          <a:xfrm>
            <a:off x="4470400" y="1701801"/>
            <a:ext cx="7208664" cy="4443967"/>
            <a:chOff x="8270876" y="2608300"/>
            <a:chExt cx="9274173" cy="5924550"/>
          </a:xfrm>
        </p:grpSpPr>
        <p:grpSp>
          <p:nvGrpSpPr>
            <p:cNvPr id="62" name="群組 1">
              <a:extLst>
                <a:ext uri="{FF2B5EF4-FFF2-40B4-BE49-F238E27FC236}">
                  <a16:creationId xmlns:a16="http://schemas.microsoft.com/office/drawing/2014/main" id="{C9455C89-6330-4B68-9076-ACAF5354F6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70876" y="2608300"/>
              <a:ext cx="9274173" cy="5924550"/>
              <a:chOff x="4509162" y="1770508"/>
              <a:chExt cx="6869159" cy="4388549"/>
            </a:xfrm>
          </p:grpSpPr>
          <p:sp>
            <p:nvSpPr>
              <p:cNvPr id="65" name="矩形: 圓角 6">
                <a:extLst>
                  <a:ext uri="{FF2B5EF4-FFF2-40B4-BE49-F238E27FC236}">
                    <a16:creationId xmlns:a16="http://schemas.microsoft.com/office/drawing/2014/main" id="{B02CAB47-6EFA-4E66-B9A5-ADCBE21F3194}"/>
                  </a:ext>
                </a:extLst>
              </p:cNvPr>
              <p:cNvSpPr/>
              <p:nvPr/>
            </p:nvSpPr>
            <p:spPr>
              <a:xfrm>
                <a:off x="4546788" y="1876340"/>
                <a:ext cx="2083559" cy="3819402"/>
              </a:xfrm>
              <a:prstGeom prst="roundRect">
                <a:avLst/>
              </a:prstGeom>
              <a:noFill/>
              <a:ln w="28575">
                <a:solidFill>
                  <a:srgbClr val="27496D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b"/>
              <a:lstStyle/>
              <a:p>
                <a:pPr algn="ctr" defTabSz="609585">
                  <a:defRPr/>
                </a:pPr>
                <a:endParaRPr lang="zh-TW" altLang="en-US" sz="1680" b="1" dirty="0">
                  <a:solidFill>
                    <a:srgbClr val="993366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66" name="矩形: 圓角 7">
                <a:extLst>
                  <a:ext uri="{FF2B5EF4-FFF2-40B4-BE49-F238E27FC236}">
                    <a16:creationId xmlns:a16="http://schemas.microsoft.com/office/drawing/2014/main" id="{311A4490-C005-4C4D-BD41-386FCB04E45E}"/>
                  </a:ext>
                </a:extLst>
              </p:cNvPr>
              <p:cNvSpPr/>
              <p:nvPr/>
            </p:nvSpPr>
            <p:spPr>
              <a:xfrm>
                <a:off x="4509162" y="1779915"/>
                <a:ext cx="2125889" cy="543276"/>
              </a:xfrm>
              <a:prstGeom prst="roundRect">
                <a:avLst/>
              </a:prstGeom>
              <a:solidFill>
                <a:srgbClr val="27496D"/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lnSpc>
                    <a:spcPts val="2760"/>
                  </a:lnSpc>
                  <a:defRPr/>
                </a:pPr>
                <a:r>
                  <a:rPr lang="en-US" altLang="zh-TW" sz="2040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1</a:t>
                </a:r>
                <a:endParaRPr lang="zh-TW" altLang="en-US" sz="2040" b="1" dirty="0">
                  <a:solidFill>
                    <a:prstClr val="white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7" name="矩形: 圓角 8">
                <a:extLst>
                  <a:ext uri="{FF2B5EF4-FFF2-40B4-BE49-F238E27FC236}">
                    <a16:creationId xmlns:a16="http://schemas.microsoft.com/office/drawing/2014/main" id="{9A4710F5-FD6F-45AB-BD63-FC9BE611CD69}"/>
                  </a:ext>
                </a:extLst>
              </p:cNvPr>
              <p:cNvSpPr/>
              <p:nvPr/>
            </p:nvSpPr>
            <p:spPr>
              <a:xfrm>
                <a:off x="6900786" y="1876340"/>
                <a:ext cx="2083559" cy="3819402"/>
              </a:xfrm>
              <a:prstGeom prst="roundRect">
                <a:avLst/>
              </a:prstGeom>
              <a:noFill/>
              <a:ln w="28575">
                <a:solidFill>
                  <a:srgbClr val="27496D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b"/>
              <a:lstStyle/>
              <a:p>
                <a:pPr algn="ctr" defTabSz="609585">
                  <a:defRPr/>
                </a:pPr>
                <a:endParaRPr lang="zh-TW" altLang="en-US" sz="1680" dirty="0">
                  <a:solidFill>
                    <a:srgbClr val="7030A0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68" name="矩形: 圓角 9">
                <a:extLst>
                  <a:ext uri="{FF2B5EF4-FFF2-40B4-BE49-F238E27FC236}">
                    <a16:creationId xmlns:a16="http://schemas.microsoft.com/office/drawing/2014/main" id="{1474D0BE-0171-468E-BE0F-C6A9BA13ADB6}"/>
                  </a:ext>
                </a:extLst>
              </p:cNvPr>
              <p:cNvSpPr/>
              <p:nvPr/>
            </p:nvSpPr>
            <p:spPr>
              <a:xfrm>
                <a:off x="6879622" y="1770508"/>
                <a:ext cx="2125889" cy="543276"/>
              </a:xfrm>
              <a:prstGeom prst="roundRect">
                <a:avLst/>
              </a:prstGeom>
              <a:solidFill>
                <a:srgbClr val="27496D"/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lnSpc>
                    <a:spcPts val="2760"/>
                  </a:lnSpc>
                  <a:defRPr/>
                </a:pPr>
                <a:r>
                  <a:rPr lang="en-US" altLang="zh-TW" sz="2040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2</a:t>
                </a:r>
                <a:endParaRPr lang="zh-TW" altLang="en-US" sz="2040" b="1" dirty="0">
                  <a:solidFill>
                    <a:prstClr val="white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9" name="矩形: 圓角 10">
                <a:extLst>
                  <a:ext uri="{FF2B5EF4-FFF2-40B4-BE49-F238E27FC236}">
                    <a16:creationId xmlns:a16="http://schemas.microsoft.com/office/drawing/2014/main" id="{12FA865E-D4FC-4E4E-9FD8-C5A5CD45E06D}"/>
                  </a:ext>
                </a:extLst>
              </p:cNvPr>
              <p:cNvSpPr/>
              <p:nvPr/>
            </p:nvSpPr>
            <p:spPr>
              <a:xfrm>
                <a:off x="9275949" y="1876340"/>
                <a:ext cx="2083559" cy="3819402"/>
              </a:xfrm>
              <a:prstGeom prst="roundRect">
                <a:avLst/>
              </a:prstGeom>
              <a:noFill/>
              <a:ln w="28575">
                <a:solidFill>
                  <a:srgbClr val="27496D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b"/>
              <a:lstStyle/>
              <a:p>
                <a:pPr algn="ctr" defTabSz="609585">
                  <a:defRPr/>
                </a:pPr>
                <a:endParaRPr lang="zh-TW" altLang="en-US" sz="1680" b="1" dirty="0">
                  <a:solidFill>
                    <a:srgbClr val="0066FF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70" name="矩形: 圓角 11">
                <a:extLst>
                  <a:ext uri="{FF2B5EF4-FFF2-40B4-BE49-F238E27FC236}">
                    <a16:creationId xmlns:a16="http://schemas.microsoft.com/office/drawing/2014/main" id="{67C5D534-E649-4878-93F6-9E50F010E34F}"/>
                  </a:ext>
                </a:extLst>
              </p:cNvPr>
              <p:cNvSpPr/>
              <p:nvPr/>
            </p:nvSpPr>
            <p:spPr>
              <a:xfrm>
                <a:off x="9254785" y="1770508"/>
                <a:ext cx="2123536" cy="543276"/>
              </a:xfrm>
              <a:prstGeom prst="roundRect">
                <a:avLst/>
              </a:prstGeom>
              <a:solidFill>
                <a:srgbClr val="27496D"/>
              </a:solidFill>
              <a:ln w="285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lnSpc>
                    <a:spcPts val="2760"/>
                  </a:lnSpc>
                  <a:defRPr/>
                </a:pPr>
                <a:r>
                  <a:rPr lang="en-US" altLang="zh-TW" sz="2040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3</a:t>
                </a:r>
                <a:endParaRPr lang="zh-TW" altLang="en-US" sz="2040" b="1" dirty="0">
                  <a:solidFill>
                    <a:prstClr val="white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72" name="矩形 71">
                <a:extLst>
                  <a:ext uri="{FF2B5EF4-FFF2-40B4-BE49-F238E27FC236}">
                    <a16:creationId xmlns:a16="http://schemas.microsoft.com/office/drawing/2014/main" id="{5C50083C-F322-4D73-B29A-455D6ABA6E99}"/>
                  </a:ext>
                </a:extLst>
              </p:cNvPr>
              <p:cNvSpPr/>
              <p:nvPr/>
            </p:nvSpPr>
            <p:spPr>
              <a:xfrm>
                <a:off x="4721250" y="2452908"/>
                <a:ext cx="1701713" cy="267875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defTabSz="609585">
                  <a:lnSpc>
                    <a:spcPts val="2760"/>
                  </a:lnSpc>
                  <a:defRPr/>
                </a:pPr>
                <a:endParaRPr lang="en-US" altLang="zh-TW" sz="1892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  <a:p>
                <a:pPr defTabSz="609585">
                  <a:lnSpc>
                    <a:spcPts val="2760"/>
                  </a:lnSpc>
                  <a:defRPr/>
                </a:pPr>
                <a:r>
                  <a:rPr lang="en-US" altLang="zh-TW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6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大環境目的中，至少</a:t>
                </a:r>
                <a:r>
                  <a:rPr lang="en-US" altLang="zh-TW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1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項具實質貢獻 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（</a:t>
                </a:r>
                <a:r>
                  <a:rPr lang="en-US" altLang="zh-TW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substantially contribution, SC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）</a:t>
                </a:r>
              </a:p>
            </p:txBody>
          </p:sp>
          <p:sp>
            <p:nvSpPr>
              <p:cNvPr id="73" name="矩形 72">
                <a:extLst>
                  <a:ext uri="{FF2B5EF4-FFF2-40B4-BE49-F238E27FC236}">
                    <a16:creationId xmlns:a16="http://schemas.microsoft.com/office/drawing/2014/main" id="{67AC1325-FD34-4FBD-A845-CADE33988CDD}"/>
                  </a:ext>
                </a:extLst>
              </p:cNvPr>
              <p:cNvSpPr/>
              <p:nvPr/>
            </p:nvSpPr>
            <p:spPr>
              <a:xfrm>
                <a:off x="7140653" y="2452908"/>
                <a:ext cx="1603824" cy="26764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just" defTabSz="609585">
                  <a:lnSpc>
                    <a:spcPts val="2760"/>
                  </a:lnSpc>
                  <a:defRPr/>
                </a:pPr>
                <a:endParaRPr lang="en-US" altLang="zh-TW" sz="1892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  <a:p>
                <a:pPr algn="just" defTabSz="609585">
                  <a:lnSpc>
                    <a:spcPts val="2760"/>
                  </a:lnSpc>
                  <a:defRPr/>
                </a:pPr>
                <a:r>
                  <a:rPr lang="zh-TW" altLang="en-US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其餘環境目的，皆無造成重大損害</a:t>
                </a:r>
                <a:endParaRPr lang="en-US" altLang="zh-TW" sz="1892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  <a:p>
                <a:pPr defTabSz="609585">
                  <a:lnSpc>
                    <a:spcPts val="2760"/>
                  </a:lnSpc>
                  <a:defRPr/>
                </a:pP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（</a:t>
                </a:r>
                <a:r>
                  <a:rPr lang="en-US" altLang="zh-TW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do no significant harm, DNSH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）</a:t>
                </a:r>
              </a:p>
            </p:txBody>
          </p:sp>
          <p:sp>
            <p:nvSpPr>
              <p:cNvPr id="74" name="矩形 73">
                <a:extLst>
                  <a:ext uri="{FF2B5EF4-FFF2-40B4-BE49-F238E27FC236}">
                    <a16:creationId xmlns:a16="http://schemas.microsoft.com/office/drawing/2014/main" id="{C69BF80F-A5FF-46AE-A7FC-0D9B2CB0E756}"/>
                  </a:ext>
                </a:extLst>
              </p:cNvPr>
              <p:cNvSpPr/>
              <p:nvPr/>
            </p:nvSpPr>
            <p:spPr>
              <a:xfrm>
                <a:off x="9468036" y="2452908"/>
                <a:ext cx="1721359" cy="267640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just" defTabSz="609585">
                  <a:lnSpc>
                    <a:spcPts val="2760"/>
                  </a:lnSpc>
                  <a:defRPr/>
                </a:pPr>
                <a:endParaRPr lang="en-US" altLang="zh-TW" sz="2040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  <a:sym typeface="Arial"/>
                </a:endParaRPr>
              </a:p>
              <a:p>
                <a:pPr defTabSz="609585">
                  <a:lnSpc>
                    <a:spcPts val="2760"/>
                  </a:lnSpc>
                  <a:defRPr/>
                </a:pPr>
                <a:r>
                  <a:rPr lang="zh-TW" altLang="en-US" sz="1892" dirty="0">
                    <a:solidFill>
                      <a:prstClr val="black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  <a:cs typeface="Arial" panose="020B0604020202020204" pitchFamily="34" charset="0"/>
                    <a:sym typeface="Arial"/>
                  </a:rPr>
                  <a:t>遵守最低限度的社會治理保障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（</a:t>
                </a:r>
                <a:r>
                  <a:rPr lang="en-US" altLang="zh-TW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minimum safeguards</a:t>
                </a:r>
                <a:r>
                  <a:rPr lang="zh-TW" altLang="en-US" sz="1892" dirty="0">
                    <a:solidFill>
                      <a:prstClr val="black"/>
                    </a:solidFill>
                    <a:latin typeface="Times New Roman" panose="02020603050405020304" pitchFamily="18" charset="0"/>
                    <a:ea typeface="微軟正黑體" panose="020B0604030504040204" pitchFamily="34" charset="-120"/>
                    <a:cs typeface="Times New Roman" panose="02020603050405020304" pitchFamily="18" charset="0"/>
                    <a:sym typeface="Arial"/>
                  </a:rPr>
                  <a:t>）</a:t>
                </a:r>
              </a:p>
            </p:txBody>
          </p:sp>
          <p:sp>
            <p:nvSpPr>
              <p:cNvPr id="77" name="橢圓 76">
                <a:extLst>
                  <a:ext uri="{FF2B5EF4-FFF2-40B4-BE49-F238E27FC236}">
                    <a16:creationId xmlns:a16="http://schemas.microsoft.com/office/drawing/2014/main" id="{4A8C4A6D-F59E-4AA3-9C00-69F2E17F785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162920" y="5199503"/>
                <a:ext cx="959472" cy="959554"/>
              </a:xfrm>
              <a:prstGeom prst="ellipse">
                <a:avLst/>
              </a:prstGeom>
              <a:solidFill>
                <a:srgbClr val="27496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78" name="橢圓 77">
                <a:extLst>
                  <a:ext uri="{FF2B5EF4-FFF2-40B4-BE49-F238E27FC236}">
                    <a16:creationId xmlns:a16="http://schemas.microsoft.com/office/drawing/2014/main" id="{369936E5-167F-4A7F-8DBB-09D299A7A68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38172" y="5319446"/>
                <a:ext cx="816021" cy="81609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79" name="橢圓 78">
                <a:extLst>
                  <a:ext uri="{FF2B5EF4-FFF2-40B4-BE49-F238E27FC236}">
                    <a16:creationId xmlns:a16="http://schemas.microsoft.com/office/drawing/2014/main" id="{950DC22C-F332-4831-B852-D1486F2733D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547490" y="5199503"/>
                <a:ext cx="959472" cy="959554"/>
              </a:xfrm>
              <a:prstGeom prst="ellipse">
                <a:avLst/>
              </a:prstGeom>
              <a:solidFill>
                <a:srgbClr val="27496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80" name="橢圓 79">
                <a:extLst>
                  <a:ext uri="{FF2B5EF4-FFF2-40B4-BE49-F238E27FC236}">
                    <a16:creationId xmlns:a16="http://schemas.microsoft.com/office/drawing/2014/main" id="{9DF11B34-6C84-4A61-9CFD-BDA39954A4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2742" y="5319446"/>
                <a:ext cx="816021" cy="81609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81" name="橢圓 80">
                <a:extLst>
                  <a:ext uri="{FF2B5EF4-FFF2-40B4-BE49-F238E27FC236}">
                    <a16:creationId xmlns:a16="http://schemas.microsoft.com/office/drawing/2014/main" id="{73EED284-F3C8-4843-9D0B-C19427605B6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06191" y="5199503"/>
                <a:ext cx="959472" cy="959554"/>
              </a:xfrm>
              <a:prstGeom prst="ellipse">
                <a:avLst/>
              </a:prstGeom>
              <a:solidFill>
                <a:srgbClr val="27496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  <p:sp>
            <p:nvSpPr>
              <p:cNvPr id="82" name="橢圓 81">
                <a:extLst>
                  <a:ext uri="{FF2B5EF4-FFF2-40B4-BE49-F238E27FC236}">
                    <a16:creationId xmlns:a16="http://schemas.microsoft.com/office/drawing/2014/main" id="{747BB07D-BDE6-4B6C-9D2F-8F2BD8FC18E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981443" y="5319446"/>
                <a:ext cx="816022" cy="816092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09585">
                  <a:defRPr/>
                </a:pPr>
                <a:endParaRPr lang="zh-TW" altLang="en-US" sz="1680">
                  <a:solidFill>
                    <a:prstClr val="white"/>
                  </a:solidFill>
                  <a:latin typeface="Calibri"/>
                  <a:ea typeface="新細明體" panose="02020500000000000000" pitchFamily="18" charset="-120"/>
                  <a:sym typeface="Arial"/>
                </a:endParaRPr>
              </a:p>
            </p:txBody>
          </p:sp>
        </p:grpSp>
        <p:pic>
          <p:nvPicPr>
            <p:cNvPr id="84" name="圖片 83">
              <a:extLst>
                <a:ext uri="{FF2B5EF4-FFF2-40B4-BE49-F238E27FC236}">
                  <a16:creationId xmlns:a16="http://schemas.microsoft.com/office/drawing/2014/main" id="{D3C729E7-A031-49E5-BF95-B36EF9D3D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rgbClr val="00206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15744100" y="7591273"/>
              <a:ext cx="975558" cy="648000"/>
            </a:xfrm>
            <a:prstGeom prst="rect">
              <a:avLst/>
            </a:prstGeom>
          </p:spPr>
        </p:pic>
        <p:pic>
          <p:nvPicPr>
            <p:cNvPr id="85" name="圖片 84">
              <a:extLst>
                <a:ext uri="{FF2B5EF4-FFF2-40B4-BE49-F238E27FC236}">
                  <a16:creationId xmlns:a16="http://schemas.microsoft.com/office/drawing/2014/main" id="{3B77E21E-D44E-49AA-99F3-5F5AFF5D2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rgbClr val="27496D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9341897" y="7591273"/>
              <a:ext cx="975558" cy="648000"/>
            </a:xfrm>
            <a:prstGeom prst="rect">
              <a:avLst/>
            </a:prstGeom>
          </p:spPr>
        </p:pic>
        <p:pic>
          <p:nvPicPr>
            <p:cNvPr id="86" name="圖片 85">
              <a:extLst>
                <a:ext uri="{FF2B5EF4-FFF2-40B4-BE49-F238E27FC236}">
                  <a16:creationId xmlns:a16="http://schemas.microsoft.com/office/drawing/2014/main" id="{28BFAC27-B4EB-477C-A059-088643606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rgbClr val="002060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12540100" y="7591273"/>
              <a:ext cx="975558" cy="648000"/>
            </a:xfrm>
            <a:prstGeom prst="rect">
              <a:avLst/>
            </a:prstGeom>
          </p:spPr>
        </p:pic>
      </p:grpSp>
      <p:sp>
        <p:nvSpPr>
          <p:cNvPr id="26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/>
          <a:p>
            <a:pPr defTabSz="914354">
              <a:defRPr/>
            </a:pPr>
            <a:r>
              <a:rPr lang="en-US" altLang="zh-CN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Arial"/>
              </a:rPr>
              <a:t>15</a:t>
            </a:r>
            <a:endParaRPr lang="zh-CN" altLang="en-US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15844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標題 6">
            <a:extLst>
              <a:ext uri="{FF2B5EF4-FFF2-40B4-BE49-F238E27FC236}">
                <a16:creationId xmlns:a16="http://schemas.microsoft.com/office/drawing/2014/main" id="{AB3F68C8-A089-443D-9FC9-7462597005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六大環境目的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63FAF7D2-A677-E946-BF73-93326CD43229}"/>
              </a:ext>
            </a:extLst>
          </p:cNvPr>
          <p:cNvSpPr/>
          <p:nvPr/>
        </p:nvSpPr>
        <p:spPr>
          <a:xfrm>
            <a:off x="373193" y="1130073"/>
            <a:ext cx="3764659" cy="720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1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氣候變遷減緩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302DED99-9A4D-3140-9EF6-776BAC38A0F5}"/>
              </a:ext>
            </a:extLst>
          </p:cNvPr>
          <p:cNvSpPr/>
          <p:nvPr/>
        </p:nvSpPr>
        <p:spPr>
          <a:xfrm>
            <a:off x="373193" y="2010093"/>
            <a:ext cx="3764659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2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氣候變遷調適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6A6E226D-B39C-3D42-8FCB-FC64BDF6084F}"/>
              </a:ext>
            </a:extLst>
          </p:cNvPr>
          <p:cNvSpPr/>
          <p:nvPr/>
        </p:nvSpPr>
        <p:spPr>
          <a:xfrm>
            <a:off x="373193" y="2890113"/>
            <a:ext cx="3764659" cy="720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945" indent="-234945"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3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水及海洋資源的永續性及保育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6830E7E7-0160-E448-AE6D-EAAEC3FE1EF2}"/>
              </a:ext>
            </a:extLst>
          </p:cNvPr>
          <p:cNvSpPr/>
          <p:nvPr/>
        </p:nvSpPr>
        <p:spPr>
          <a:xfrm>
            <a:off x="373193" y="3765597"/>
            <a:ext cx="3764659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4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轉型至循環經濟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AD6D31ED-DA81-0D4F-84BE-109CFB58F7FB}"/>
              </a:ext>
            </a:extLst>
          </p:cNvPr>
          <p:cNvSpPr/>
          <p:nvPr/>
        </p:nvSpPr>
        <p:spPr>
          <a:xfrm>
            <a:off x="373193" y="4642799"/>
            <a:ext cx="3764659" cy="720000"/>
          </a:xfrm>
          <a:prstGeom prst="rect">
            <a:avLst/>
          </a:prstGeom>
          <a:solidFill>
            <a:srgbClr val="00909E"/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9178" indent="-239178"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5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污染預防與控制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851FAD6-5712-9C4D-B362-D0FF3A571847}"/>
              </a:ext>
            </a:extLst>
          </p:cNvPr>
          <p:cNvSpPr/>
          <p:nvPr/>
        </p:nvSpPr>
        <p:spPr>
          <a:xfrm>
            <a:off x="373193" y="5520000"/>
            <a:ext cx="3764659" cy="72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9178" indent="-239178" defTabSz="822939">
              <a:defRPr/>
            </a:pPr>
            <a:r>
              <a:rPr lang="en-US" altLang="zh-TW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6. </a:t>
            </a:r>
            <a:r>
              <a:rPr lang="zh-TW" altLang="en-US" sz="1920" b="1" dirty="0">
                <a:solidFill>
                  <a:prstClr val="white"/>
                </a:solidFill>
                <a:latin typeface="Arial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生物多樣性及生態系統的保護與復原</a:t>
            </a:r>
          </a:p>
        </p:txBody>
      </p:sp>
      <p:sp>
        <p:nvSpPr>
          <p:cNvPr id="18" name="圓角矩形 17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1968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除降低溫室氣體排放的經濟活動外，其他為因應已發生或預期的氣候負面衝擊，而進行的調整活動，以減輕危害或發展有利的機會，如：提升橋梁、道路等維生基礎設施韌性、山坡地水土保持維護等</a:t>
            </a:r>
          </a:p>
        </p:txBody>
      </p:sp>
      <p:sp>
        <p:nvSpPr>
          <p:cNvPr id="45" name="圓角矩形 44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1104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可降低溫室氣體排放的經濟活動，如：產生、儲存或使用再生能源、氣候中和能源（包括碳中和能源）、電網強化改善能源效率、增加使用碳捕捉與儲存技術等</a:t>
            </a:r>
          </a:p>
        </p:txBody>
      </p:sp>
      <p:sp>
        <p:nvSpPr>
          <p:cNvPr id="19" name="圓角矩形 18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2832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具有對水和海洋資源的永續利用和保護作出重大貢獻的經濟活動，以維持地表水和地下水的良好狀態或防止惡化</a:t>
            </a:r>
          </a:p>
        </p:txBody>
      </p:sp>
      <p:sp>
        <p:nvSpPr>
          <p:cNvPr id="20" name="圓角矩形 19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3696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促進循環經濟轉型的經濟活動，包含廢棄物的回收再利用或避免廢棄物產生</a:t>
            </a:r>
          </a:p>
        </p:txBody>
      </p:sp>
      <p:sp>
        <p:nvSpPr>
          <p:cNvPr id="21" name="圓角矩形 20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4560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對於空污、水污、土壤地下水污染等環境污染的預防和控制具有重大貢獻的經濟活動</a:t>
            </a:r>
          </a:p>
        </p:txBody>
      </p:sp>
      <p:sp>
        <p:nvSpPr>
          <p:cNvPr id="22" name="圓角矩形 21">
            <a:extLst>
              <a:ext uri="{FF2B5EF4-FFF2-40B4-BE49-F238E27FC236}">
                <a16:creationId xmlns:a16="http://schemas.microsoft.com/office/drawing/2014/main" id="{29F803AB-8C16-9C44-BE31-2E8935872013}"/>
              </a:ext>
            </a:extLst>
          </p:cNvPr>
          <p:cNvSpPr/>
          <p:nvPr/>
        </p:nvSpPr>
        <p:spPr>
          <a:xfrm>
            <a:off x="4243813" y="5424000"/>
            <a:ext cx="7584000" cy="8160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22939">
              <a:defRPr/>
            </a:pPr>
            <a:r>
              <a:rPr lang="zh-TW" altLang="en-US" sz="1600" dirty="0">
                <a:solidFill>
                  <a:prstClr val="black"/>
                </a:solidFill>
                <a:latin typeface="Calibri" panose="020F0502020204030204" pitchFamily="34" charset="0"/>
                <a:ea typeface="微軟正黑體" panose="020B0604030504040204" pitchFamily="34" charset="-120"/>
                <a:cs typeface="Calibri" panose="020F0502020204030204" pitchFamily="34" charset="0"/>
                <a:sym typeface="Arial"/>
              </a:rPr>
              <a:t>對保護和恢復生物多樣性及生態系統具有重大貢獻，包括保護、養護或恢復生物多樣性、實現生態系統良好狀況或保護已處於良好狀況生態系統的經濟活動</a:t>
            </a:r>
          </a:p>
        </p:txBody>
      </p:sp>
      <p:sp>
        <p:nvSpPr>
          <p:cNvPr id="16" name="投影片編號版面配置區 3">
            <a:extLst>
              <a:ext uri="{FF2B5EF4-FFF2-40B4-BE49-F238E27FC236}">
                <a16:creationId xmlns:a16="http://schemas.microsoft.com/office/drawing/2014/main" id="{5A4F73C3-5931-4D70-BA87-79B0B4AC0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0000" y="6356350"/>
            <a:ext cx="2275200" cy="365125"/>
          </a:xfrm>
        </p:spPr>
        <p:txBody>
          <a:bodyPr/>
          <a:lstStyle>
            <a:defPPr>
              <a:defRPr lang="zh-TW"/>
            </a:defPPr>
            <a:lvl1pPr marL="0" algn="l" defTabSz="609585" rtl="0" eaLnBrk="1" latinLnBrk="0" hangingPunct="1">
              <a:defRPr sz="1333" b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CBD9E41-3741-4017-A2C2-A6D983F224CA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>
                <a:defRPr/>
              </a:pPr>
              <a:t>26</a:t>
            </a:fld>
            <a:endParaRPr lang="zh-TW" altLang="en-US" dirty="0">
              <a:solidFill>
                <a:prstClr val="white">
                  <a:lumMod val="50000"/>
                </a:prstClr>
              </a:solidFill>
              <a:ea typeface="新細明體" panose="02020500000000000000" pitchFamily="18" charset="-12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236428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69" name="標題 1">
            <a:extLst>
              <a:ext uri="{FF2B5EF4-FFF2-40B4-BE49-F238E27FC236}">
                <a16:creationId xmlns:a16="http://schemas.microsoft.com/office/drawing/2014/main" id="{C1869048-77B4-4765-9095-49ECAFDEC3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01133" y="78317"/>
            <a:ext cx="10422467" cy="1227667"/>
          </a:xfrm>
        </p:spPr>
        <p:txBody>
          <a:bodyPr>
            <a:normAutofit/>
          </a:bodyPr>
          <a:lstStyle/>
          <a:p>
            <a:r>
              <a:rPr lang="zh-TW" altLang="zh-TW" dirty="0">
                <a:latin typeface="微軟正黑體" panose="020B0604030504040204" pitchFamily="34" charset="-120"/>
                <a:cs typeface="Heiti TC Medium" pitchFamily="2" charset="-128"/>
              </a:rPr>
              <a:t>蒙特婁議定書</a:t>
            </a:r>
            <a:r>
              <a:rPr lang="zh-TW" altLang="en-US" dirty="0">
                <a:latin typeface="微軟正黑體" panose="020B0604030504040204" pitchFamily="34" charset="-120"/>
                <a:cs typeface="Heiti TC Medium" pitchFamily="2" charset="-128"/>
              </a:rPr>
              <a:t>　</a:t>
            </a:r>
            <a:r>
              <a:rPr lang="zh-TW" altLang="en-US" sz="2933" b="0" dirty="0">
                <a:latin typeface="微軟正黑體" panose="020B0604030504040204" pitchFamily="34" charset="-120"/>
                <a:cs typeface="Heiti TC Medium" pitchFamily="2" charset="-128"/>
              </a:rPr>
              <a:t>蒙特婁破壞臭氧層物質管制議定書</a:t>
            </a:r>
            <a:r>
              <a:rPr lang="en-US" altLang="zh-TW" sz="4133" b="0" dirty="0">
                <a:latin typeface="微軟正黑體" panose="020B0604030504040204" pitchFamily="34" charset="-120"/>
                <a:cs typeface="Heiti TC Medium" pitchFamily="2" charset="-128"/>
              </a:rPr>
              <a:t> </a:t>
            </a:r>
            <a:r>
              <a:rPr lang="en-US" altLang="zh-TW" sz="1733" dirty="0">
                <a:solidFill>
                  <a:srgbClr val="4D5156"/>
                </a:solidFill>
                <a:latin typeface="微軟正黑體" panose="020B0604030504040204" pitchFamily="34" charset="-120"/>
                <a:cs typeface="Heiti TC Medium" pitchFamily="2" charset="-128"/>
              </a:rPr>
              <a:t>Montreal Protocol on Substances that Deplete the Ozone Layer</a:t>
            </a:r>
            <a:endParaRPr lang="zh-TW" altLang="en-US" sz="1733" dirty="0">
              <a:solidFill>
                <a:srgbClr val="4D5156"/>
              </a:solidFill>
              <a:latin typeface="微軟正黑體" panose="020B0604030504040204" pitchFamily="34" charset="-120"/>
              <a:cs typeface="Heiti TC Medium" pitchFamily="2" charset="-128"/>
            </a:endParaRPr>
          </a:p>
        </p:txBody>
      </p:sp>
      <p:pic>
        <p:nvPicPr>
          <p:cNvPr id="160770" name="Picture 4" descr="About Montreal Protocol">
            <a:extLst>
              <a:ext uri="{FF2B5EF4-FFF2-40B4-BE49-F238E27FC236}">
                <a16:creationId xmlns:a16="http://schemas.microsoft.com/office/drawing/2014/main" id="{656041C1-8A97-4799-9622-A81084E640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4717" y="1500717"/>
            <a:ext cx="5842000" cy="1710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771" name="Picture 6" descr="Generation SunSmart | » 30 years of the Montreal Protocol – what it means  for skin cancer">
            <a:extLst>
              <a:ext uri="{FF2B5EF4-FFF2-40B4-BE49-F238E27FC236}">
                <a16:creationId xmlns:a16="http://schemas.microsoft.com/office/drawing/2014/main" id="{53931E4F-F94B-420F-AFD3-DA3773227D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734" y="3405717"/>
            <a:ext cx="9516533" cy="3452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14075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defRPr/>
            </a:pPr>
            <a:fld id="{8F4EACC7-37E3-43A5-A5FB-BEB9CE95D266}" type="slidenum">
              <a:rPr lang="zh-TW" alt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pPr defTabSz="609585">
                <a:defRPr/>
              </a:pPr>
              <a:t>28</a:t>
            </a:fld>
            <a:endParaRPr lang="zh-TW" alt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新細明體" panose="02020500000000000000" pitchFamily="18" charset="-120"/>
              <a:cs typeface="Arial"/>
              <a:sym typeface="Arial"/>
            </a:endParaRPr>
          </a:p>
        </p:txBody>
      </p:sp>
      <p:sp>
        <p:nvSpPr>
          <p:cNvPr id="3" name="標題 2"/>
          <p:cNvSpPr>
            <a:spLocks noGrp="1"/>
          </p:cNvSpPr>
          <p:nvPr>
            <p:ph type="title"/>
          </p:nvPr>
        </p:nvSpPr>
        <p:spPr>
          <a:xfrm>
            <a:off x="838200" y="-119207"/>
            <a:ext cx="10515600" cy="1325563"/>
          </a:xfrm>
        </p:spPr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環境目的貢獻之相互關聯</a:t>
            </a:r>
          </a:p>
        </p:txBody>
      </p:sp>
      <p:sp>
        <p:nvSpPr>
          <p:cNvPr id="6" name="文字方塊 5"/>
          <p:cNvSpPr txBox="1"/>
          <p:nvPr/>
        </p:nvSpPr>
        <p:spPr>
          <a:xfrm>
            <a:off x="1411613" y="2934496"/>
            <a:ext cx="295232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7" indent="-285737" defTabSz="609585">
              <a:buFont typeface="Arial" panose="020B0604020202020204" pitchFamily="34" charset="0"/>
              <a:buChar char="•"/>
              <a:defRPr/>
            </a:pPr>
            <a:r>
              <a:rPr lang="zh-TW" altLang="en-US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水資源與海洋保護、生物多樣性兩項環境目的：側重直接改善狀態；</a:t>
            </a:r>
            <a:endParaRPr lang="en-US" altLang="zh-TW" dirty="0">
              <a:solidFill>
                <a:prstClr val="black">
                  <a:lumMod val="7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285737" indent="-285737" defTabSz="609585">
              <a:buFont typeface="Arial" panose="020B0604020202020204" pitchFamily="34" charset="0"/>
              <a:buChar char="•"/>
              <a:defRPr/>
            </a:pPr>
            <a:r>
              <a:rPr lang="zh-TW" altLang="en-US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汙染防治環境目標：側重於減低汙染造成的壓力；</a:t>
            </a:r>
            <a:endParaRPr lang="en-US" altLang="zh-TW" dirty="0">
              <a:solidFill>
                <a:prstClr val="black">
                  <a:lumMod val="7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285737" indent="-285737" defTabSz="609585">
              <a:buFont typeface="Arial" panose="020B0604020202020204" pitchFamily="34" charset="0"/>
              <a:buChar char="•"/>
              <a:defRPr/>
            </a:pPr>
            <a:r>
              <a:rPr lang="zh-TW" altLang="en-US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循環經濟：聚焦於系統性的改變，以支持其他環境目的之達成。</a:t>
            </a:r>
          </a:p>
        </p:txBody>
      </p:sp>
      <p:sp>
        <p:nvSpPr>
          <p:cNvPr id="7" name="文字方塊 6"/>
          <p:cNvSpPr txBox="1"/>
          <p:nvPr/>
        </p:nvSpPr>
        <p:spPr>
          <a:xfrm flipH="1">
            <a:off x="1886919" y="1026202"/>
            <a:ext cx="84181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zh-TW" altLang="en-US" b="1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設定「最終目標狀態」（</a:t>
            </a:r>
            <a:r>
              <a:rPr lang="en-US" altLang="zh-TW" b="1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headline ambition levels</a:t>
            </a:r>
            <a:r>
              <a:rPr lang="zh-TW" altLang="en-US" b="1" dirty="0">
                <a:solidFill>
                  <a:prstClr val="black">
                    <a:lumMod val="7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），並釐清各環境目的間如何相互作用、預期經濟活動之貢獻。</a:t>
            </a:r>
            <a:endParaRPr lang="zh-TW" altLang="en-US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8" name="圓角矩形 7"/>
          <p:cNvSpPr/>
          <p:nvPr/>
        </p:nvSpPr>
        <p:spPr>
          <a:xfrm>
            <a:off x="4579373" y="2609527"/>
            <a:ext cx="2596679" cy="1837076"/>
          </a:xfrm>
          <a:prstGeom prst="roundRect">
            <a:avLst/>
          </a:prstGeom>
          <a:noFill/>
          <a:ln w="12700">
            <a:solidFill>
              <a:srgbClr val="6C9110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defTabSz="609585">
              <a:defRPr/>
            </a:pPr>
            <a:r>
              <a:rPr lang="zh-TW" altLang="en-US" b="1" u="sng" dirty="0">
                <a:solidFill>
                  <a:srgbClr val="6C9110"/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生物多樣性與</a:t>
            </a:r>
            <a:endParaRPr lang="en-US" altLang="zh-TW" b="1" u="sng" dirty="0">
              <a:solidFill>
                <a:srgbClr val="6C9110"/>
              </a:solidFill>
              <a:latin typeface="Calibri" panose="020F0502020204030204"/>
              <a:ea typeface="新細明體" panose="02020500000000000000" pitchFamily="18" charset="-120"/>
              <a:sym typeface="Arial"/>
            </a:endParaRPr>
          </a:p>
          <a:p>
            <a:pPr defTabSz="609585">
              <a:defRPr/>
            </a:pPr>
            <a:r>
              <a:rPr lang="zh-TW" altLang="en-US" b="1" u="sng" dirty="0">
                <a:solidFill>
                  <a:srgbClr val="6C9110"/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生態系</a:t>
            </a:r>
          </a:p>
        </p:txBody>
      </p:sp>
      <p:sp>
        <p:nvSpPr>
          <p:cNvPr id="9" name="圓角矩形 8"/>
          <p:cNvSpPr/>
          <p:nvPr/>
        </p:nvSpPr>
        <p:spPr>
          <a:xfrm>
            <a:off x="6312026" y="2097257"/>
            <a:ext cx="2714191" cy="1872209"/>
          </a:xfrm>
          <a:prstGeom prst="roundRect">
            <a:avLst/>
          </a:prstGeom>
          <a:noFill/>
          <a:ln w="1270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09585">
              <a:defRPr/>
            </a:pPr>
            <a:r>
              <a:rPr lang="zh-TW" altLang="en-US" sz="2000" b="1" u="sng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水與海洋</a:t>
            </a:r>
            <a:endParaRPr lang="en-US" altLang="zh-TW" sz="2000" b="1" u="sng" dirty="0">
              <a:solidFill>
                <a:srgbClr val="5B9BD5">
                  <a:lumMod val="50000"/>
                </a:srgbClr>
              </a:solidFill>
              <a:latin typeface="Calibri" panose="020F0502020204030204"/>
              <a:ea typeface="新細明體" panose="02020500000000000000" pitchFamily="18" charset="-120"/>
              <a:sym typeface="Arial"/>
            </a:endParaRPr>
          </a:p>
          <a:p>
            <a:pPr algn="ctr" defTabSz="609585">
              <a:defRPr/>
            </a:pPr>
            <a:endParaRPr lang="en-US" altLang="zh-TW" sz="1600" dirty="0">
              <a:solidFill>
                <a:srgbClr val="5B9BD5">
                  <a:lumMod val="50000"/>
                </a:srgbClr>
              </a:solidFill>
              <a:latin typeface="Calibri" panose="020F0502020204030204"/>
              <a:ea typeface="新細明體" panose="02020500000000000000" pitchFamily="18" charset="-120"/>
              <a:sym typeface="Arial"/>
            </a:endParaRPr>
          </a:p>
          <a:p>
            <a:pPr algn="ctr" defTabSz="609585">
              <a:defRPr/>
            </a:pPr>
            <a:r>
              <a:rPr lang="zh-TW" altLang="en-US" sz="1600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物理狀態</a:t>
            </a:r>
          </a:p>
        </p:txBody>
      </p:sp>
      <p:sp>
        <p:nvSpPr>
          <p:cNvPr id="10" name="圓角矩形 9"/>
          <p:cNvSpPr/>
          <p:nvPr/>
        </p:nvSpPr>
        <p:spPr>
          <a:xfrm>
            <a:off x="8184232" y="2609527"/>
            <a:ext cx="2736304" cy="1837076"/>
          </a:xfrm>
          <a:prstGeom prst="roundRect">
            <a:avLst/>
          </a:prstGeom>
          <a:noFill/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609585">
              <a:defRPr/>
            </a:pPr>
            <a:r>
              <a:rPr lang="zh-TW" altLang="en-US" b="1" u="sng" dirty="0">
                <a:solidFill>
                  <a:srgbClr val="FFC000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汙染</a:t>
            </a:r>
          </a:p>
        </p:txBody>
      </p:sp>
      <p:sp>
        <p:nvSpPr>
          <p:cNvPr id="12" name="圓角矩形 11"/>
          <p:cNvSpPr/>
          <p:nvPr/>
        </p:nvSpPr>
        <p:spPr>
          <a:xfrm>
            <a:off x="5216573" y="5096600"/>
            <a:ext cx="4911875" cy="792088"/>
          </a:xfrm>
          <a:prstGeom prst="roundRect">
            <a:avLst/>
          </a:prstGeom>
          <a:noFill/>
          <a:ln w="12700">
            <a:solidFill>
              <a:srgbClr val="30D097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zh-TW" altLang="en-US" b="1" dirty="0">
                <a:solidFill>
                  <a:srgbClr val="26AA7B"/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　　</a:t>
            </a:r>
            <a:r>
              <a:rPr lang="zh-TW" altLang="en-US" b="1" u="sng" dirty="0">
                <a:solidFill>
                  <a:srgbClr val="26AA7B"/>
                </a:solidFill>
                <a:latin typeface="Calibri" panose="020F0502020204030204"/>
                <a:ea typeface="新細明體" panose="02020500000000000000" pitchFamily="18" charset="-120"/>
                <a:sym typeface="Arial"/>
              </a:rPr>
              <a:t>循環經濟</a:t>
            </a:r>
          </a:p>
        </p:txBody>
      </p:sp>
      <p:sp>
        <p:nvSpPr>
          <p:cNvPr id="13" name="文字方塊 12"/>
          <p:cNvSpPr txBox="1"/>
          <p:nvPr/>
        </p:nvSpPr>
        <p:spPr>
          <a:xfrm>
            <a:off x="5216577" y="3358611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sz="160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陸地</a:t>
            </a:r>
          </a:p>
        </p:txBody>
      </p:sp>
      <p:sp>
        <p:nvSpPr>
          <p:cNvPr id="14" name="文字方塊 13"/>
          <p:cNvSpPr txBox="1"/>
          <p:nvPr/>
        </p:nvSpPr>
        <p:spPr>
          <a:xfrm>
            <a:off x="6457578" y="3313605"/>
            <a:ext cx="5950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sz="160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淡水</a:t>
            </a:r>
            <a:endParaRPr lang="en-US" altLang="zh-TW" sz="1600" dirty="0">
              <a:solidFill>
                <a:srgbClr val="70AD47">
                  <a:lumMod val="75000"/>
                </a:srgbClr>
              </a:solidFill>
              <a:latin typeface="Calibri" panose="020F0502020204030204"/>
              <a:ea typeface="新細明體" panose="02020500000000000000" pitchFamily="18" charset="-120"/>
              <a:cs typeface="Arial"/>
              <a:sym typeface="Arial"/>
            </a:endParaRPr>
          </a:p>
          <a:p>
            <a:pPr defTabSz="609585">
              <a:defRPr/>
            </a:pPr>
            <a:r>
              <a:rPr lang="zh-TW" altLang="en-US" sz="1600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海洋</a:t>
            </a:r>
          </a:p>
        </p:txBody>
      </p:sp>
      <p:sp>
        <p:nvSpPr>
          <p:cNvPr id="15" name="文字方塊 14"/>
          <p:cNvSpPr txBox="1"/>
          <p:nvPr/>
        </p:nvSpPr>
        <p:spPr>
          <a:xfrm>
            <a:off x="6354533" y="2696154"/>
            <a:ext cx="8002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>
              <a:defRPr/>
            </a:pPr>
            <a:r>
              <a:rPr lang="zh-TW" altLang="en-US" sz="1600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生態系</a:t>
            </a:r>
            <a:endParaRPr lang="en-US" altLang="zh-TW" sz="1600" dirty="0">
              <a:solidFill>
                <a:srgbClr val="5B9BD5">
                  <a:lumMod val="50000"/>
                </a:srgbClr>
              </a:solidFill>
              <a:latin typeface="Calibri" panose="020F0502020204030204"/>
              <a:ea typeface="新細明體" panose="02020500000000000000" pitchFamily="18" charset="-120"/>
              <a:cs typeface="Arial"/>
              <a:sym typeface="Arial"/>
            </a:endParaRPr>
          </a:p>
          <a:p>
            <a:pPr algn="ctr" defTabSz="609585">
              <a:defRPr/>
            </a:pPr>
            <a:r>
              <a:rPr lang="zh-TW" altLang="en-US" sz="1600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狀態</a:t>
            </a:r>
          </a:p>
        </p:txBody>
      </p:sp>
      <p:sp>
        <p:nvSpPr>
          <p:cNvPr id="16" name="文字方塊 15"/>
          <p:cNvSpPr txBox="1"/>
          <p:nvPr/>
        </p:nvSpPr>
        <p:spPr>
          <a:xfrm>
            <a:off x="8328251" y="2683418"/>
            <a:ext cx="5950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sz="1600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汙染</a:t>
            </a:r>
            <a:endParaRPr lang="en-US" altLang="zh-TW" sz="1600" dirty="0">
              <a:solidFill>
                <a:srgbClr val="5B9BD5">
                  <a:lumMod val="50000"/>
                </a:srgbClr>
              </a:solidFill>
              <a:latin typeface="Calibri" panose="020F0502020204030204"/>
              <a:ea typeface="新細明體" panose="02020500000000000000" pitchFamily="18" charset="-120"/>
              <a:cs typeface="Arial"/>
              <a:sym typeface="Arial"/>
            </a:endParaRPr>
          </a:p>
          <a:p>
            <a:pPr defTabSz="609585">
              <a:defRPr/>
            </a:pPr>
            <a:r>
              <a:rPr lang="zh-TW" altLang="en-US" sz="1600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狀態</a:t>
            </a:r>
          </a:p>
        </p:txBody>
      </p:sp>
      <p:sp>
        <p:nvSpPr>
          <p:cNvPr id="17" name="文字方塊 16"/>
          <p:cNvSpPr txBox="1"/>
          <p:nvPr/>
        </p:nvSpPr>
        <p:spPr>
          <a:xfrm>
            <a:off x="8132750" y="3441911"/>
            <a:ext cx="9860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>
              <a:defRPr/>
            </a:pPr>
            <a:r>
              <a:rPr lang="zh-TW" altLang="en-US" sz="1600" dirty="0">
                <a:solidFill>
                  <a:srgbClr val="FFC000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水汙染</a:t>
            </a:r>
          </a:p>
        </p:txBody>
      </p:sp>
      <p:sp>
        <p:nvSpPr>
          <p:cNvPr id="18" name="文字方塊 17"/>
          <p:cNvSpPr txBox="1"/>
          <p:nvPr/>
        </p:nvSpPr>
        <p:spPr>
          <a:xfrm>
            <a:off x="9696495" y="3299038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sz="1600" dirty="0">
                <a:solidFill>
                  <a:srgbClr val="FFC000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空氣</a:t>
            </a:r>
          </a:p>
        </p:txBody>
      </p:sp>
      <p:sp>
        <p:nvSpPr>
          <p:cNvPr id="19" name="文字方塊 18"/>
          <p:cNvSpPr txBox="1"/>
          <p:nvPr/>
        </p:nvSpPr>
        <p:spPr>
          <a:xfrm>
            <a:off x="9229221" y="3898379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sz="1600" dirty="0">
                <a:solidFill>
                  <a:srgbClr val="FFC000">
                    <a:lumMod val="50000"/>
                  </a:srgbClr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土地</a:t>
            </a:r>
          </a:p>
        </p:txBody>
      </p:sp>
      <p:pic>
        <p:nvPicPr>
          <p:cNvPr id="39" name="圖片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1272" y="5241137"/>
            <a:ext cx="526952" cy="504251"/>
          </a:xfrm>
          <a:prstGeom prst="rect">
            <a:avLst/>
          </a:prstGeom>
        </p:spPr>
      </p:pic>
      <p:sp>
        <p:nvSpPr>
          <p:cNvPr id="40" name="Freeform 57"/>
          <p:cNvSpPr>
            <a:spLocks noEditPoints="1"/>
          </p:cNvSpPr>
          <p:nvPr/>
        </p:nvSpPr>
        <p:spPr bwMode="auto">
          <a:xfrm>
            <a:off x="7488732" y="3242315"/>
            <a:ext cx="360363" cy="571500"/>
          </a:xfrm>
          <a:custGeom>
            <a:avLst/>
            <a:gdLst>
              <a:gd name="T0" fmla="*/ 182078 w 95"/>
              <a:gd name="T1" fmla="*/ 0 h 150"/>
              <a:gd name="T2" fmla="*/ 0 w 95"/>
              <a:gd name="T3" fmla="*/ 388620 h 150"/>
              <a:gd name="T4" fmla="*/ 182078 w 95"/>
              <a:gd name="T5" fmla="*/ 571500 h 150"/>
              <a:gd name="T6" fmla="*/ 360363 w 95"/>
              <a:gd name="T7" fmla="*/ 388620 h 150"/>
              <a:gd name="T8" fmla="*/ 182078 w 95"/>
              <a:gd name="T9" fmla="*/ 0 h 150"/>
              <a:gd name="T10" fmla="*/ 250357 w 95"/>
              <a:gd name="T11" fmla="*/ 491490 h 150"/>
              <a:gd name="T12" fmla="*/ 238978 w 95"/>
              <a:gd name="T13" fmla="*/ 502920 h 150"/>
              <a:gd name="T14" fmla="*/ 220011 w 95"/>
              <a:gd name="T15" fmla="*/ 510540 h 150"/>
              <a:gd name="T16" fmla="*/ 201045 w 95"/>
              <a:gd name="T17" fmla="*/ 518160 h 150"/>
              <a:gd name="T18" fmla="*/ 64486 w 95"/>
              <a:gd name="T19" fmla="*/ 407670 h 150"/>
              <a:gd name="T20" fmla="*/ 45520 w 95"/>
              <a:gd name="T21" fmla="*/ 407670 h 150"/>
              <a:gd name="T22" fmla="*/ 87246 w 95"/>
              <a:gd name="T23" fmla="*/ 335280 h 150"/>
              <a:gd name="T24" fmla="*/ 132765 w 95"/>
              <a:gd name="T25" fmla="*/ 407670 h 150"/>
              <a:gd name="T26" fmla="*/ 110006 w 95"/>
              <a:gd name="T27" fmla="*/ 407670 h 150"/>
              <a:gd name="T28" fmla="*/ 189665 w 95"/>
              <a:gd name="T29" fmla="*/ 499110 h 150"/>
              <a:gd name="T30" fmla="*/ 216218 w 95"/>
              <a:gd name="T31" fmla="*/ 499110 h 150"/>
              <a:gd name="T32" fmla="*/ 257944 w 95"/>
              <a:gd name="T33" fmla="*/ 483870 h 150"/>
              <a:gd name="T34" fmla="*/ 250357 w 95"/>
              <a:gd name="T35" fmla="*/ 491490 h 150"/>
              <a:gd name="T36" fmla="*/ 280704 w 95"/>
              <a:gd name="T37" fmla="*/ 464820 h 150"/>
              <a:gd name="T38" fmla="*/ 238978 w 95"/>
              <a:gd name="T39" fmla="*/ 388620 h 150"/>
              <a:gd name="T40" fmla="*/ 257944 w 95"/>
              <a:gd name="T41" fmla="*/ 388620 h 150"/>
              <a:gd name="T42" fmla="*/ 178285 w 95"/>
              <a:gd name="T43" fmla="*/ 300990 h 150"/>
              <a:gd name="T44" fmla="*/ 151732 w 95"/>
              <a:gd name="T45" fmla="*/ 300990 h 150"/>
              <a:gd name="T46" fmla="*/ 110006 w 95"/>
              <a:gd name="T47" fmla="*/ 316230 h 150"/>
              <a:gd name="T48" fmla="*/ 117592 w 95"/>
              <a:gd name="T49" fmla="*/ 304800 h 150"/>
              <a:gd name="T50" fmla="*/ 128972 w 95"/>
              <a:gd name="T51" fmla="*/ 297180 h 150"/>
              <a:gd name="T52" fmla="*/ 147938 w 95"/>
              <a:gd name="T53" fmla="*/ 285750 h 150"/>
              <a:gd name="T54" fmla="*/ 170698 w 95"/>
              <a:gd name="T55" fmla="*/ 281940 h 150"/>
              <a:gd name="T56" fmla="*/ 303464 w 95"/>
              <a:gd name="T57" fmla="*/ 388620 h 150"/>
              <a:gd name="T58" fmla="*/ 326223 w 95"/>
              <a:gd name="T59" fmla="*/ 388620 h 150"/>
              <a:gd name="T60" fmla="*/ 280704 w 95"/>
              <a:gd name="T61" fmla="*/ 464820 h 15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95" h="150">
                <a:moveTo>
                  <a:pt x="48" y="0"/>
                </a:moveTo>
                <a:cubicBezTo>
                  <a:pt x="48" y="0"/>
                  <a:pt x="0" y="76"/>
                  <a:pt x="0" y="102"/>
                </a:cubicBezTo>
                <a:cubicBezTo>
                  <a:pt x="0" y="128"/>
                  <a:pt x="21" y="150"/>
                  <a:pt x="48" y="150"/>
                </a:cubicBezTo>
                <a:cubicBezTo>
                  <a:pt x="74" y="150"/>
                  <a:pt x="95" y="128"/>
                  <a:pt x="95" y="102"/>
                </a:cubicBezTo>
                <a:cubicBezTo>
                  <a:pt x="95" y="76"/>
                  <a:pt x="48" y="0"/>
                  <a:pt x="48" y="0"/>
                </a:cubicBezTo>
                <a:close/>
                <a:moveTo>
                  <a:pt x="66" y="129"/>
                </a:moveTo>
                <a:cubicBezTo>
                  <a:pt x="65" y="130"/>
                  <a:pt x="64" y="131"/>
                  <a:pt x="63" y="132"/>
                </a:cubicBezTo>
                <a:cubicBezTo>
                  <a:pt x="62" y="133"/>
                  <a:pt x="60" y="134"/>
                  <a:pt x="58" y="134"/>
                </a:cubicBezTo>
                <a:cubicBezTo>
                  <a:pt x="57" y="135"/>
                  <a:pt x="55" y="136"/>
                  <a:pt x="53" y="136"/>
                </a:cubicBezTo>
                <a:cubicBezTo>
                  <a:pt x="34" y="139"/>
                  <a:pt x="19" y="124"/>
                  <a:pt x="17" y="107"/>
                </a:cubicBezTo>
                <a:cubicBezTo>
                  <a:pt x="12" y="107"/>
                  <a:pt x="12" y="107"/>
                  <a:pt x="12" y="107"/>
                </a:cubicBezTo>
                <a:cubicBezTo>
                  <a:pt x="23" y="88"/>
                  <a:pt x="23" y="88"/>
                  <a:pt x="23" y="88"/>
                </a:cubicBezTo>
                <a:cubicBezTo>
                  <a:pt x="35" y="107"/>
                  <a:pt x="35" y="107"/>
                  <a:pt x="35" y="107"/>
                </a:cubicBezTo>
                <a:cubicBezTo>
                  <a:pt x="29" y="107"/>
                  <a:pt x="29" y="107"/>
                  <a:pt x="29" y="107"/>
                </a:cubicBezTo>
                <a:cubicBezTo>
                  <a:pt x="29" y="120"/>
                  <a:pt x="38" y="130"/>
                  <a:pt x="50" y="131"/>
                </a:cubicBezTo>
                <a:cubicBezTo>
                  <a:pt x="50" y="131"/>
                  <a:pt x="55" y="131"/>
                  <a:pt x="57" y="131"/>
                </a:cubicBezTo>
                <a:cubicBezTo>
                  <a:pt x="61" y="130"/>
                  <a:pt x="65" y="129"/>
                  <a:pt x="68" y="127"/>
                </a:cubicBezTo>
                <a:cubicBezTo>
                  <a:pt x="67" y="128"/>
                  <a:pt x="67" y="129"/>
                  <a:pt x="66" y="129"/>
                </a:cubicBezTo>
                <a:close/>
                <a:moveTo>
                  <a:pt x="74" y="122"/>
                </a:moveTo>
                <a:cubicBezTo>
                  <a:pt x="63" y="102"/>
                  <a:pt x="63" y="102"/>
                  <a:pt x="63" y="102"/>
                </a:cubicBezTo>
                <a:cubicBezTo>
                  <a:pt x="68" y="102"/>
                  <a:pt x="68" y="102"/>
                  <a:pt x="68" y="102"/>
                </a:cubicBezTo>
                <a:cubicBezTo>
                  <a:pt x="68" y="90"/>
                  <a:pt x="60" y="80"/>
                  <a:pt x="47" y="79"/>
                </a:cubicBezTo>
                <a:cubicBezTo>
                  <a:pt x="47" y="79"/>
                  <a:pt x="42" y="79"/>
                  <a:pt x="40" y="79"/>
                </a:cubicBezTo>
                <a:cubicBezTo>
                  <a:pt x="36" y="80"/>
                  <a:pt x="33" y="81"/>
                  <a:pt x="29" y="83"/>
                </a:cubicBezTo>
                <a:cubicBezTo>
                  <a:pt x="30" y="82"/>
                  <a:pt x="31" y="81"/>
                  <a:pt x="31" y="80"/>
                </a:cubicBezTo>
                <a:cubicBezTo>
                  <a:pt x="32" y="80"/>
                  <a:pt x="33" y="79"/>
                  <a:pt x="34" y="78"/>
                </a:cubicBezTo>
                <a:cubicBezTo>
                  <a:pt x="36" y="77"/>
                  <a:pt x="37" y="76"/>
                  <a:pt x="39" y="75"/>
                </a:cubicBezTo>
                <a:cubicBezTo>
                  <a:pt x="41" y="75"/>
                  <a:pt x="43" y="74"/>
                  <a:pt x="45" y="74"/>
                </a:cubicBezTo>
                <a:cubicBezTo>
                  <a:pt x="64" y="70"/>
                  <a:pt x="79" y="85"/>
                  <a:pt x="80" y="102"/>
                </a:cubicBezTo>
                <a:cubicBezTo>
                  <a:pt x="86" y="102"/>
                  <a:pt x="86" y="102"/>
                  <a:pt x="86" y="102"/>
                </a:cubicBezTo>
                <a:lnTo>
                  <a:pt x="74" y="122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/>
          <a:lstStyle/>
          <a:p>
            <a:pPr defTabSz="91435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kern="0">
              <a:solidFill>
                <a:srgbClr val="414042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pic>
        <p:nvPicPr>
          <p:cNvPr id="57" name="圖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6285" y="3637591"/>
            <a:ext cx="885659" cy="703004"/>
          </a:xfrm>
          <a:prstGeom prst="rect">
            <a:avLst/>
          </a:prstGeom>
        </p:spPr>
      </p:pic>
      <p:sp>
        <p:nvSpPr>
          <p:cNvPr id="58" name="Freeform 207"/>
          <p:cNvSpPr>
            <a:spLocks noEditPoints="1"/>
          </p:cNvSpPr>
          <p:nvPr/>
        </p:nvSpPr>
        <p:spPr bwMode="auto">
          <a:xfrm>
            <a:off x="4776582" y="3908748"/>
            <a:ext cx="506396" cy="544360"/>
          </a:xfrm>
          <a:custGeom>
            <a:avLst/>
            <a:gdLst>
              <a:gd name="T0" fmla="*/ 15240 w 185"/>
              <a:gd name="T1" fmla="*/ 308610 h 230"/>
              <a:gd name="T2" fmla="*/ 133350 w 185"/>
              <a:gd name="T3" fmla="*/ 361950 h 230"/>
              <a:gd name="T4" fmla="*/ 297180 w 185"/>
              <a:gd name="T5" fmla="*/ 415290 h 230"/>
              <a:gd name="T6" fmla="*/ 297180 w 185"/>
              <a:gd name="T7" fmla="*/ 541020 h 230"/>
              <a:gd name="T8" fmla="*/ 297180 w 185"/>
              <a:gd name="T9" fmla="*/ 502920 h 230"/>
              <a:gd name="T10" fmla="*/ 278130 w 185"/>
              <a:gd name="T11" fmla="*/ 483870 h 230"/>
              <a:gd name="T12" fmla="*/ 240030 w 185"/>
              <a:gd name="T13" fmla="*/ 483870 h 230"/>
              <a:gd name="T14" fmla="*/ 201930 w 185"/>
              <a:gd name="T15" fmla="*/ 502920 h 230"/>
              <a:gd name="T16" fmla="*/ 213360 w 185"/>
              <a:gd name="T17" fmla="*/ 544830 h 230"/>
              <a:gd name="T18" fmla="*/ 278130 w 185"/>
              <a:gd name="T19" fmla="*/ 548640 h 230"/>
              <a:gd name="T20" fmla="*/ 392430 w 185"/>
              <a:gd name="T21" fmla="*/ 579120 h 230"/>
              <a:gd name="T22" fmla="*/ 506730 w 185"/>
              <a:gd name="T23" fmla="*/ 876300 h 230"/>
              <a:gd name="T24" fmla="*/ 609600 w 185"/>
              <a:gd name="T25" fmla="*/ 582930 h 230"/>
              <a:gd name="T26" fmla="*/ 662940 w 185"/>
              <a:gd name="T27" fmla="*/ 563880 h 230"/>
              <a:gd name="T28" fmla="*/ 701040 w 185"/>
              <a:gd name="T29" fmla="*/ 537210 h 230"/>
              <a:gd name="T30" fmla="*/ 651510 w 185"/>
              <a:gd name="T31" fmla="*/ 491490 h 230"/>
              <a:gd name="T32" fmla="*/ 613410 w 185"/>
              <a:gd name="T33" fmla="*/ 449580 h 230"/>
              <a:gd name="T34" fmla="*/ 567690 w 185"/>
              <a:gd name="T35" fmla="*/ 480060 h 230"/>
              <a:gd name="T36" fmla="*/ 499110 w 185"/>
              <a:gd name="T37" fmla="*/ 506730 h 230"/>
              <a:gd name="T38" fmla="*/ 533400 w 185"/>
              <a:gd name="T39" fmla="*/ 563880 h 230"/>
              <a:gd name="T40" fmla="*/ 491490 w 185"/>
              <a:gd name="T41" fmla="*/ 655320 h 230"/>
              <a:gd name="T42" fmla="*/ 529590 w 185"/>
              <a:gd name="T43" fmla="*/ 358140 h 230"/>
              <a:gd name="T44" fmla="*/ 674370 w 185"/>
              <a:gd name="T45" fmla="*/ 228600 h 230"/>
              <a:gd name="T46" fmla="*/ 552450 w 185"/>
              <a:gd name="T47" fmla="*/ 121920 h 230"/>
              <a:gd name="T48" fmla="*/ 377190 w 185"/>
              <a:gd name="T49" fmla="*/ 76200 h 230"/>
              <a:gd name="T50" fmla="*/ 259080 w 185"/>
              <a:gd name="T51" fmla="*/ 11430 h 230"/>
              <a:gd name="T52" fmla="*/ 163830 w 185"/>
              <a:gd name="T53" fmla="*/ 133350 h 230"/>
              <a:gd name="T54" fmla="*/ 99060 w 185"/>
              <a:gd name="T55" fmla="*/ 179070 h 230"/>
              <a:gd name="T56" fmla="*/ 567690 w 185"/>
              <a:gd name="T57" fmla="*/ 598170 h 230"/>
              <a:gd name="T58" fmla="*/ 586740 w 185"/>
              <a:gd name="T59" fmla="*/ 571500 h 230"/>
              <a:gd name="T60" fmla="*/ 567690 w 185"/>
              <a:gd name="T61" fmla="*/ 598170 h 230"/>
              <a:gd name="T62" fmla="*/ 365760 w 185"/>
              <a:gd name="T63" fmla="*/ 381000 h 230"/>
              <a:gd name="T64" fmla="*/ 403860 w 185"/>
              <a:gd name="T65" fmla="*/ 510540 h 23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85" h="230">
                <a:moveTo>
                  <a:pt x="10" y="53"/>
                </a:moveTo>
                <a:cubicBezTo>
                  <a:pt x="2" y="59"/>
                  <a:pt x="0" y="71"/>
                  <a:pt x="4" y="81"/>
                </a:cubicBezTo>
                <a:cubicBezTo>
                  <a:pt x="9" y="91"/>
                  <a:pt x="20" y="96"/>
                  <a:pt x="31" y="94"/>
                </a:cubicBezTo>
                <a:cubicBezTo>
                  <a:pt x="32" y="94"/>
                  <a:pt x="34" y="94"/>
                  <a:pt x="35" y="95"/>
                </a:cubicBezTo>
                <a:cubicBezTo>
                  <a:pt x="40" y="103"/>
                  <a:pt x="49" y="107"/>
                  <a:pt x="59" y="106"/>
                </a:cubicBezTo>
                <a:cubicBezTo>
                  <a:pt x="65" y="109"/>
                  <a:pt x="72" y="110"/>
                  <a:pt x="78" y="109"/>
                </a:cubicBezTo>
                <a:cubicBezTo>
                  <a:pt x="84" y="120"/>
                  <a:pt x="93" y="133"/>
                  <a:pt x="101" y="148"/>
                </a:cubicBezTo>
                <a:cubicBezTo>
                  <a:pt x="95" y="147"/>
                  <a:pt x="86" y="144"/>
                  <a:pt x="78" y="142"/>
                </a:cubicBezTo>
                <a:cubicBezTo>
                  <a:pt x="81" y="142"/>
                  <a:pt x="84" y="140"/>
                  <a:pt x="84" y="137"/>
                </a:cubicBezTo>
                <a:cubicBezTo>
                  <a:pt x="84" y="133"/>
                  <a:pt x="81" y="131"/>
                  <a:pt x="78" y="132"/>
                </a:cubicBezTo>
                <a:cubicBezTo>
                  <a:pt x="77" y="131"/>
                  <a:pt x="76" y="130"/>
                  <a:pt x="75" y="130"/>
                </a:cubicBezTo>
                <a:cubicBezTo>
                  <a:pt x="75" y="128"/>
                  <a:pt x="74" y="127"/>
                  <a:pt x="73" y="127"/>
                </a:cubicBezTo>
                <a:cubicBezTo>
                  <a:pt x="72" y="124"/>
                  <a:pt x="70" y="123"/>
                  <a:pt x="68" y="123"/>
                </a:cubicBezTo>
                <a:cubicBezTo>
                  <a:pt x="66" y="123"/>
                  <a:pt x="64" y="125"/>
                  <a:pt x="63" y="127"/>
                </a:cubicBezTo>
                <a:cubicBezTo>
                  <a:pt x="62" y="127"/>
                  <a:pt x="61" y="128"/>
                  <a:pt x="60" y="128"/>
                </a:cubicBezTo>
                <a:cubicBezTo>
                  <a:pt x="57" y="127"/>
                  <a:pt x="54" y="129"/>
                  <a:pt x="53" y="132"/>
                </a:cubicBezTo>
                <a:cubicBezTo>
                  <a:pt x="50" y="132"/>
                  <a:pt x="47" y="135"/>
                  <a:pt x="48" y="139"/>
                </a:cubicBezTo>
                <a:cubicBezTo>
                  <a:pt x="48" y="143"/>
                  <a:pt x="52" y="145"/>
                  <a:pt x="56" y="143"/>
                </a:cubicBezTo>
                <a:cubicBezTo>
                  <a:pt x="58" y="146"/>
                  <a:pt x="62" y="146"/>
                  <a:pt x="65" y="144"/>
                </a:cubicBezTo>
                <a:cubicBezTo>
                  <a:pt x="67" y="146"/>
                  <a:pt x="70" y="146"/>
                  <a:pt x="73" y="144"/>
                </a:cubicBezTo>
                <a:cubicBezTo>
                  <a:pt x="74" y="145"/>
                  <a:pt x="76" y="144"/>
                  <a:pt x="77" y="143"/>
                </a:cubicBezTo>
                <a:cubicBezTo>
                  <a:pt x="87" y="148"/>
                  <a:pt x="97" y="151"/>
                  <a:pt x="103" y="152"/>
                </a:cubicBezTo>
                <a:cubicBezTo>
                  <a:pt x="112" y="173"/>
                  <a:pt x="118" y="199"/>
                  <a:pt x="107" y="230"/>
                </a:cubicBezTo>
                <a:cubicBezTo>
                  <a:pt x="133" y="230"/>
                  <a:pt x="133" y="230"/>
                  <a:pt x="133" y="230"/>
                </a:cubicBezTo>
                <a:cubicBezTo>
                  <a:pt x="136" y="216"/>
                  <a:pt x="134" y="198"/>
                  <a:pt x="130" y="179"/>
                </a:cubicBezTo>
                <a:cubicBezTo>
                  <a:pt x="139" y="172"/>
                  <a:pt x="152" y="155"/>
                  <a:pt x="160" y="153"/>
                </a:cubicBezTo>
                <a:cubicBezTo>
                  <a:pt x="162" y="153"/>
                  <a:pt x="164" y="153"/>
                  <a:pt x="166" y="152"/>
                </a:cubicBezTo>
                <a:cubicBezTo>
                  <a:pt x="169" y="152"/>
                  <a:pt x="172" y="151"/>
                  <a:pt x="174" y="148"/>
                </a:cubicBezTo>
                <a:cubicBezTo>
                  <a:pt x="174" y="148"/>
                  <a:pt x="175" y="148"/>
                  <a:pt x="175" y="148"/>
                </a:cubicBezTo>
                <a:cubicBezTo>
                  <a:pt x="180" y="149"/>
                  <a:pt x="184" y="145"/>
                  <a:pt x="184" y="141"/>
                </a:cubicBezTo>
                <a:cubicBezTo>
                  <a:pt x="185" y="136"/>
                  <a:pt x="180" y="132"/>
                  <a:pt x="176" y="133"/>
                </a:cubicBezTo>
                <a:cubicBezTo>
                  <a:pt x="175" y="131"/>
                  <a:pt x="173" y="130"/>
                  <a:pt x="171" y="129"/>
                </a:cubicBezTo>
                <a:cubicBezTo>
                  <a:pt x="171" y="127"/>
                  <a:pt x="170" y="126"/>
                  <a:pt x="168" y="124"/>
                </a:cubicBezTo>
                <a:cubicBezTo>
                  <a:pt x="168" y="121"/>
                  <a:pt x="164" y="118"/>
                  <a:pt x="161" y="118"/>
                </a:cubicBezTo>
                <a:cubicBezTo>
                  <a:pt x="157" y="118"/>
                  <a:pt x="154" y="121"/>
                  <a:pt x="153" y="124"/>
                </a:cubicBezTo>
                <a:cubicBezTo>
                  <a:pt x="152" y="124"/>
                  <a:pt x="150" y="125"/>
                  <a:pt x="149" y="126"/>
                </a:cubicBezTo>
                <a:cubicBezTo>
                  <a:pt x="144" y="124"/>
                  <a:pt x="139" y="126"/>
                  <a:pt x="138" y="131"/>
                </a:cubicBezTo>
                <a:cubicBezTo>
                  <a:pt x="135" y="130"/>
                  <a:pt x="133" y="131"/>
                  <a:pt x="131" y="133"/>
                </a:cubicBezTo>
                <a:cubicBezTo>
                  <a:pt x="128" y="136"/>
                  <a:pt x="127" y="140"/>
                  <a:pt x="129" y="144"/>
                </a:cubicBezTo>
                <a:cubicBezTo>
                  <a:pt x="132" y="148"/>
                  <a:pt x="136" y="149"/>
                  <a:pt x="140" y="148"/>
                </a:cubicBezTo>
                <a:cubicBezTo>
                  <a:pt x="142" y="150"/>
                  <a:pt x="145" y="152"/>
                  <a:pt x="148" y="152"/>
                </a:cubicBezTo>
                <a:cubicBezTo>
                  <a:pt x="144" y="160"/>
                  <a:pt x="141" y="168"/>
                  <a:pt x="129" y="172"/>
                </a:cubicBezTo>
                <a:cubicBezTo>
                  <a:pt x="123" y="146"/>
                  <a:pt x="114" y="121"/>
                  <a:pt x="110" y="106"/>
                </a:cubicBezTo>
                <a:cubicBezTo>
                  <a:pt x="121" y="107"/>
                  <a:pt x="133" y="103"/>
                  <a:pt x="139" y="94"/>
                </a:cubicBezTo>
                <a:cubicBezTo>
                  <a:pt x="147" y="97"/>
                  <a:pt x="156" y="96"/>
                  <a:pt x="163" y="93"/>
                </a:cubicBezTo>
                <a:cubicBezTo>
                  <a:pt x="174" y="87"/>
                  <a:pt x="180" y="73"/>
                  <a:pt x="177" y="60"/>
                </a:cubicBezTo>
                <a:cubicBezTo>
                  <a:pt x="173" y="48"/>
                  <a:pt x="161" y="39"/>
                  <a:pt x="149" y="40"/>
                </a:cubicBezTo>
                <a:cubicBezTo>
                  <a:pt x="148" y="37"/>
                  <a:pt x="146" y="34"/>
                  <a:pt x="145" y="32"/>
                </a:cubicBezTo>
                <a:cubicBezTo>
                  <a:pt x="137" y="22"/>
                  <a:pt x="124" y="20"/>
                  <a:pt x="114" y="26"/>
                </a:cubicBezTo>
                <a:cubicBezTo>
                  <a:pt x="110" y="22"/>
                  <a:pt x="104" y="20"/>
                  <a:pt x="99" y="20"/>
                </a:cubicBezTo>
                <a:cubicBezTo>
                  <a:pt x="98" y="15"/>
                  <a:pt x="95" y="11"/>
                  <a:pt x="92" y="8"/>
                </a:cubicBezTo>
                <a:cubicBezTo>
                  <a:pt x="85" y="2"/>
                  <a:pt x="76" y="0"/>
                  <a:pt x="68" y="3"/>
                </a:cubicBezTo>
                <a:cubicBezTo>
                  <a:pt x="60" y="5"/>
                  <a:pt x="54" y="12"/>
                  <a:pt x="52" y="20"/>
                </a:cubicBezTo>
                <a:cubicBezTo>
                  <a:pt x="47" y="24"/>
                  <a:pt x="44" y="29"/>
                  <a:pt x="43" y="35"/>
                </a:cubicBezTo>
                <a:cubicBezTo>
                  <a:pt x="37" y="37"/>
                  <a:pt x="32" y="41"/>
                  <a:pt x="29" y="47"/>
                </a:cubicBezTo>
                <a:cubicBezTo>
                  <a:pt x="28" y="47"/>
                  <a:pt x="27" y="47"/>
                  <a:pt x="26" y="47"/>
                </a:cubicBezTo>
                <a:cubicBezTo>
                  <a:pt x="20" y="47"/>
                  <a:pt x="14" y="49"/>
                  <a:pt x="10" y="53"/>
                </a:cubicBezTo>
                <a:close/>
                <a:moveTo>
                  <a:pt x="149" y="157"/>
                </a:moveTo>
                <a:cubicBezTo>
                  <a:pt x="149" y="155"/>
                  <a:pt x="149" y="153"/>
                  <a:pt x="150" y="152"/>
                </a:cubicBezTo>
                <a:cubicBezTo>
                  <a:pt x="152" y="151"/>
                  <a:pt x="153" y="151"/>
                  <a:pt x="154" y="150"/>
                </a:cubicBezTo>
                <a:cubicBezTo>
                  <a:pt x="155" y="151"/>
                  <a:pt x="156" y="151"/>
                  <a:pt x="157" y="152"/>
                </a:cubicBezTo>
                <a:cubicBezTo>
                  <a:pt x="155" y="154"/>
                  <a:pt x="153" y="155"/>
                  <a:pt x="149" y="157"/>
                </a:cubicBezTo>
                <a:close/>
                <a:moveTo>
                  <a:pt x="85" y="108"/>
                </a:moveTo>
                <a:cubicBezTo>
                  <a:pt x="89" y="106"/>
                  <a:pt x="93" y="104"/>
                  <a:pt x="96" y="100"/>
                </a:cubicBezTo>
                <a:cubicBezTo>
                  <a:pt x="98" y="101"/>
                  <a:pt x="99" y="102"/>
                  <a:pt x="101" y="103"/>
                </a:cubicBezTo>
                <a:cubicBezTo>
                  <a:pt x="101" y="115"/>
                  <a:pt x="104" y="129"/>
                  <a:pt x="106" y="134"/>
                </a:cubicBezTo>
                <a:cubicBezTo>
                  <a:pt x="100" y="128"/>
                  <a:pt x="92" y="117"/>
                  <a:pt x="85" y="108"/>
                </a:cubicBezTo>
                <a:close/>
              </a:path>
            </a:pathLst>
          </a:custGeom>
          <a:solidFill>
            <a:srgbClr val="7FB905"/>
          </a:solidFill>
          <a:ln>
            <a:noFill/>
          </a:ln>
        </p:spPr>
        <p:txBody>
          <a:bodyPr/>
          <a:lstStyle/>
          <a:p>
            <a:pPr defTabSz="91435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kern="0">
              <a:solidFill>
                <a:srgbClr val="414042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59" name="Freeform 80"/>
          <p:cNvSpPr>
            <a:spLocks/>
          </p:cNvSpPr>
          <p:nvPr/>
        </p:nvSpPr>
        <p:spPr bwMode="auto">
          <a:xfrm>
            <a:off x="5236080" y="4034108"/>
            <a:ext cx="366213" cy="410563"/>
          </a:xfrm>
          <a:custGeom>
            <a:avLst/>
            <a:gdLst>
              <a:gd name="T0" fmla="*/ 784545 w 208"/>
              <a:gd name="T1" fmla="*/ 776679 h 231"/>
              <a:gd name="T2" fmla="*/ 601738 w 208"/>
              <a:gd name="T3" fmla="*/ 639618 h 231"/>
              <a:gd name="T4" fmla="*/ 605547 w 208"/>
              <a:gd name="T5" fmla="*/ 628196 h 231"/>
              <a:gd name="T6" fmla="*/ 689333 w 208"/>
              <a:gd name="T7" fmla="*/ 612967 h 231"/>
              <a:gd name="T8" fmla="*/ 693142 w 208"/>
              <a:gd name="T9" fmla="*/ 601546 h 231"/>
              <a:gd name="T10" fmla="*/ 567462 w 208"/>
              <a:gd name="T11" fmla="*/ 510172 h 231"/>
              <a:gd name="T12" fmla="*/ 571271 w 208"/>
              <a:gd name="T13" fmla="*/ 498750 h 231"/>
              <a:gd name="T14" fmla="*/ 639823 w 208"/>
              <a:gd name="T15" fmla="*/ 487328 h 231"/>
              <a:gd name="T16" fmla="*/ 643632 w 208"/>
              <a:gd name="T17" fmla="*/ 472099 h 231"/>
              <a:gd name="T18" fmla="*/ 517952 w 208"/>
              <a:gd name="T19" fmla="*/ 354074 h 231"/>
              <a:gd name="T20" fmla="*/ 521761 w 208"/>
              <a:gd name="T21" fmla="*/ 342653 h 231"/>
              <a:gd name="T22" fmla="*/ 586505 w 208"/>
              <a:gd name="T23" fmla="*/ 331231 h 231"/>
              <a:gd name="T24" fmla="*/ 586505 w 208"/>
              <a:gd name="T25" fmla="*/ 316002 h 231"/>
              <a:gd name="T26" fmla="*/ 403698 w 208"/>
              <a:gd name="T27" fmla="*/ 3807 h 231"/>
              <a:gd name="T28" fmla="*/ 392273 w 208"/>
              <a:gd name="T29" fmla="*/ 3807 h 231"/>
              <a:gd name="T30" fmla="*/ 205657 w 208"/>
              <a:gd name="T31" fmla="*/ 316002 h 231"/>
              <a:gd name="T32" fmla="*/ 209466 w 208"/>
              <a:gd name="T33" fmla="*/ 331231 h 231"/>
              <a:gd name="T34" fmla="*/ 270401 w 208"/>
              <a:gd name="T35" fmla="*/ 342653 h 231"/>
              <a:gd name="T36" fmla="*/ 274210 w 208"/>
              <a:gd name="T37" fmla="*/ 354074 h 231"/>
              <a:gd name="T38" fmla="*/ 152339 w 208"/>
              <a:gd name="T39" fmla="*/ 472099 h 231"/>
              <a:gd name="T40" fmla="*/ 152339 w 208"/>
              <a:gd name="T41" fmla="*/ 487328 h 231"/>
              <a:gd name="T42" fmla="*/ 220891 w 208"/>
              <a:gd name="T43" fmla="*/ 498750 h 231"/>
              <a:gd name="T44" fmla="*/ 224700 w 208"/>
              <a:gd name="T45" fmla="*/ 510172 h 231"/>
              <a:gd name="T46" fmla="*/ 102829 w 208"/>
              <a:gd name="T47" fmla="*/ 601546 h 231"/>
              <a:gd name="T48" fmla="*/ 102829 w 208"/>
              <a:gd name="T49" fmla="*/ 612967 h 231"/>
              <a:gd name="T50" fmla="*/ 186615 w 208"/>
              <a:gd name="T51" fmla="*/ 628196 h 231"/>
              <a:gd name="T52" fmla="*/ 194232 w 208"/>
              <a:gd name="T53" fmla="*/ 639618 h 231"/>
              <a:gd name="T54" fmla="*/ 7617 w 208"/>
              <a:gd name="T55" fmla="*/ 776679 h 231"/>
              <a:gd name="T56" fmla="*/ 7617 w 208"/>
              <a:gd name="T57" fmla="*/ 788101 h 231"/>
              <a:gd name="T58" fmla="*/ 350379 w 208"/>
              <a:gd name="T59" fmla="*/ 822366 h 231"/>
              <a:gd name="T60" fmla="*/ 346571 w 208"/>
              <a:gd name="T61" fmla="*/ 822366 h 231"/>
              <a:gd name="T62" fmla="*/ 346571 w 208"/>
              <a:gd name="T63" fmla="*/ 879475 h 231"/>
              <a:gd name="T64" fmla="*/ 445591 w 208"/>
              <a:gd name="T65" fmla="*/ 879475 h 231"/>
              <a:gd name="T66" fmla="*/ 445591 w 208"/>
              <a:gd name="T67" fmla="*/ 822366 h 231"/>
              <a:gd name="T68" fmla="*/ 445591 w 208"/>
              <a:gd name="T69" fmla="*/ 822366 h 231"/>
              <a:gd name="T70" fmla="*/ 784545 w 208"/>
              <a:gd name="T71" fmla="*/ 788101 h 231"/>
              <a:gd name="T72" fmla="*/ 784545 w 208"/>
              <a:gd name="T73" fmla="*/ 776679 h 231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08" h="231">
                <a:moveTo>
                  <a:pt x="206" y="204"/>
                </a:moveTo>
                <a:cubicBezTo>
                  <a:pt x="189" y="197"/>
                  <a:pt x="172" y="183"/>
                  <a:pt x="158" y="168"/>
                </a:cubicBezTo>
                <a:cubicBezTo>
                  <a:pt x="157" y="167"/>
                  <a:pt x="158" y="165"/>
                  <a:pt x="159" y="165"/>
                </a:cubicBezTo>
                <a:cubicBezTo>
                  <a:pt x="168" y="163"/>
                  <a:pt x="176" y="162"/>
                  <a:pt x="181" y="161"/>
                </a:cubicBezTo>
                <a:cubicBezTo>
                  <a:pt x="183" y="161"/>
                  <a:pt x="183" y="158"/>
                  <a:pt x="182" y="158"/>
                </a:cubicBezTo>
                <a:cubicBezTo>
                  <a:pt x="170" y="153"/>
                  <a:pt x="159" y="144"/>
                  <a:pt x="149" y="134"/>
                </a:cubicBezTo>
                <a:cubicBezTo>
                  <a:pt x="148" y="133"/>
                  <a:pt x="149" y="131"/>
                  <a:pt x="150" y="131"/>
                </a:cubicBezTo>
                <a:cubicBezTo>
                  <a:pt x="158" y="130"/>
                  <a:pt x="164" y="129"/>
                  <a:pt x="168" y="128"/>
                </a:cubicBezTo>
                <a:cubicBezTo>
                  <a:pt x="170" y="127"/>
                  <a:pt x="170" y="125"/>
                  <a:pt x="169" y="124"/>
                </a:cubicBezTo>
                <a:cubicBezTo>
                  <a:pt x="157" y="118"/>
                  <a:pt x="146" y="106"/>
                  <a:pt x="136" y="93"/>
                </a:cubicBezTo>
                <a:cubicBezTo>
                  <a:pt x="135" y="92"/>
                  <a:pt x="136" y="91"/>
                  <a:pt x="137" y="90"/>
                </a:cubicBezTo>
                <a:cubicBezTo>
                  <a:pt x="144" y="89"/>
                  <a:pt x="150" y="88"/>
                  <a:pt x="154" y="87"/>
                </a:cubicBezTo>
                <a:cubicBezTo>
                  <a:pt x="155" y="86"/>
                  <a:pt x="155" y="84"/>
                  <a:pt x="154" y="83"/>
                </a:cubicBezTo>
                <a:cubicBezTo>
                  <a:pt x="131" y="68"/>
                  <a:pt x="112" y="17"/>
                  <a:pt x="106" y="1"/>
                </a:cubicBezTo>
                <a:cubicBezTo>
                  <a:pt x="105" y="0"/>
                  <a:pt x="103" y="0"/>
                  <a:pt x="103" y="1"/>
                </a:cubicBezTo>
                <a:cubicBezTo>
                  <a:pt x="97" y="17"/>
                  <a:pt x="78" y="68"/>
                  <a:pt x="54" y="83"/>
                </a:cubicBezTo>
                <a:cubicBezTo>
                  <a:pt x="53" y="84"/>
                  <a:pt x="53" y="86"/>
                  <a:pt x="55" y="87"/>
                </a:cubicBezTo>
                <a:cubicBezTo>
                  <a:pt x="59" y="88"/>
                  <a:pt x="64" y="89"/>
                  <a:pt x="71" y="90"/>
                </a:cubicBezTo>
                <a:cubicBezTo>
                  <a:pt x="73" y="91"/>
                  <a:pt x="73" y="92"/>
                  <a:pt x="72" y="93"/>
                </a:cubicBezTo>
                <a:cubicBezTo>
                  <a:pt x="63" y="106"/>
                  <a:pt x="52" y="118"/>
                  <a:pt x="40" y="124"/>
                </a:cubicBezTo>
                <a:cubicBezTo>
                  <a:pt x="38" y="125"/>
                  <a:pt x="38" y="127"/>
                  <a:pt x="40" y="128"/>
                </a:cubicBezTo>
                <a:cubicBezTo>
                  <a:pt x="44" y="129"/>
                  <a:pt x="51" y="130"/>
                  <a:pt x="58" y="131"/>
                </a:cubicBezTo>
                <a:cubicBezTo>
                  <a:pt x="60" y="131"/>
                  <a:pt x="60" y="133"/>
                  <a:pt x="59" y="134"/>
                </a:cubicBezTo>
                <a:cubicBezTo>
                  <a:pt x="49" y="144"/>
                  <a:pt x="38" y="153"/>
                  <a:pt x="27" y="158"/>
                </a:cubicBezTo>
                <a:cubicBezTo>
                  <a:pt x="25" y="158"/>
                  <a:pt x="25" y="161"/>
                  <a:pt x="27" y="161"/>
                </a:cubicBezTo>
                <a:cubicBezTo>
                  <a:pt x="32" y="162"/>
                  <a:pt x="40" y="163"/>
                  <a:pt x="49" y="165"/>
                </a:cubicBezTo>
                <a:cubicBezTo>
                  <a:pt x="51" y="165"/>
                  <a:pt x="52" y="167"/>
                  <a:pt x="51" y="168"/>
                </a:cubicBezTo>
                <a:cubicBezTo>
                  <a:pt x="36" y="183"/>
                  <a:pt x="20" y="197"/>
                  <a:pt x="2" y="204"/>
                </a:cubicBezTo>
                <a:cubicBezTo>
                  <a:pt x="0" y="205"/>
                  <a:pt x="1" y="207"/>
                  <a:pt x="2" y="207"/>
                </a:cubicBezTo>
                <a:cubicBezTo>
                  <a:pt x="18" y="211"/>
                  <a:pt x="60" y="216"/>
                  <a:pt x="92" y="216"/>
                </a:cubicBezTo>
                <a:cubicBezTo>
                  <a:pt x="92" y="216"/>
                  <a:pt x="92" y="216"/>
                  <a:pt x="91" y="216"/>
                </a:cubicBezTo>
                <a:cubicBezTo>
                  <a:pt x="91" y="231"/>
                  <a:pt x="91" y="231"/>
                  <a:pt x="91" y="231"/>
                </a:cubicBezTo>
                <a:cubicBezTo>
                  <a:pt x="117" y="231"/>
                  <a:pt x="117" y="231"/>
                  <a:pt x="117" y="231"/>
                </a:cubicBezTo>
                <a:cubicBezTo>
                  <a:pt x="117" y="216"/>
                  <a:pt x="117" y="216"/>
                  <a:pt x="117" y="216"/>
                </a:cubicBezTo>
                <a:cubicBezTo>
                  <a:pt x="117" y="216"/>
                  <a:pt x="117" y="216"/>
                  <a:pt x="117" y="216"/>
                </a:cubicBezTo>
                <a:cubicBezTo>
                  <a:pt x="149" y="216"/>
                  <a:pt x="190" y="211"/>
                  <a:pt x="206" y="207"/>
                </a:cubicBezTo>
                <a:cubicBezTo>
                  <a:pt x="208" y="207"/>
                  <a:pt x="208" y="205"/>
                  <a:pt x="206" y="204"/>
                </a:cubicBezTo>
                <a:close/>
              </a:path>
            </a:pathLst>
          </a:custGeom>
          <a:solidFill>
            <a:srgbClr val="7FB905"/>
          </a:solidFill>
          <a:ln>
            <a:noFill/>
          </a:ln>
        </p:spPr>
        <p:txBody>
          <a:bodyPr/>
          <a:lstStyle/>
          <a:p>
            <a:pPr defTabSz="91435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kern="0">
              <a:solidFill>
                <a:srgbClr val="414042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sp>
        <p:nvSpPr>
          <p:cNvPr id="60" name="Freeform 78"/>
          <p:cNvSpPr>
            <a:spLocks noEditPoints="1"/>
          </p:cNvSpPr>
          <p:nvPr/>
        </p:nvSpPr>
        <p:spPr bwMode="auto">
          <a:xfrm>
            <a:off x="5519193" y="3915311"/>
            <a:ext cx="542601" cy="553109"/>
          </a:xfrm>
          <a:custGeom>
            <a:avLst/>
            <a:gdLst>
              <a:gd name="T0" fmla="*/ 1403350 w 369"/>
              <a:gd name="T1" fmla="*/ 646886 h 398"/>
              <a:gd name="T2" fmla="*/ 1296863 w 369"/>
              <a:gd name="T3" fmla="*/ 433794 h 398"/>
              <a:gd name="T4" fmla="*/ 920354 w 369"/>
              <a:gd name="T5" fmla="*/ 129377 h 398"/>
              <a:gd name="T6" fmla="*/ 490602 w 369"/>
              <a:gd name="T7" fmla="*/ 144598 h 398"/>
              <a:gd name="T8" fmla="*/ 136912 w 369"/>
              <a:gd name="T9" fmla="*/ 536535 h 398"/>
              <a:gd name="T10" fmla="*/ 460177 w 369"/>
              <a:gd name="T11" fmla="*/ 932277 h 398"/>
              <a:gd name="T12" fmla="*/ 646530 w 369"/>
              <a:gd name="T13" fmla="*/ 1187227 h 398"/>
              <a:gd name="T14" fmla="*/ 627514 w 369"/>
              <a:gd name="T15" fmla="*/ 1514475 h 398"/>
              <a:gd name="T16" fmla="*/ 753017 w 369"/>
              <a:gd name="T17" fmla="*/ 1514475 h 398"/>
              <a:gd name="T18" fmla="*/ 768230 w 369"/>
              <a:gd name="T19" fmla="*/ 1217668 h 398"/>
              <a:gd name="T20" fmla="*/ 889929 w 369"/>
              <a:gd name="T21" fmla="*/ 1061655 h 398"/>
              <a:gd name="T22" fmla="*/ 969795 w 369"/>
              <a:gd name="T23" fmla="*/ 1019797 h 398"/>
              <a:gd name="T24" fmla="*/ 1258832 w 369"/>
              <a:gd name="T25" fmla="*/ 890420 h 398"/>
              <a:gd name="T26" fmla="*/ 1403350 w 369"/>
              <a:gd name="T27" fmla="*/ 646886 h 398"/>
              <a:gd name="T28" fmla="*/ 597089 w 369"/>
              <a:gd name="T29" fmla="*/ 1092096 h 398"/>
              <a:gd name="T30" fmla="*/ 471586 w 369"/>
              <a:gd name="T31" fmla="*/ 928472 h 398"/>
              <a:gd name="T32" fmla="*/ 494405 w 369"/>
              <a:gd name="T33" fmla="*/ 920862 h 398"/>
              <a:gd name="T34" fmla="*/ 627514 w 369"/>
              <a:gd name="T35" fmla="*/ 993161 h 398"/>
              <a:gd name="T36" fmla="*/ 646530 w 369"/>
              <a:gd name="T37" fmla="*/ 1126343 h 398"/>
              <a:gd name="T38" fmla="*/ 597089 w 369"/>
              <a:gd name="T39" fmla="*/ 1092096 h 398"/>
              <a:gd name="T40" fmla="*/ 764426 w 369"/>
              <a:gd name="T41" fmla="*/ 1080681 h 398"/>
              <a:gd name="T42" fmla="*/ 753017 w 369"/>
              <a:gd name="T43" fmla="*/ 974135 h 398"/>
              <a:gd name="T44" fmla="*/ 787245 w 369"/>
              <a:gd name="T45" fmla="*/ 951303 h 398"/>
              <a:gd name="T46" fmla="*/ 893732 w 369"/>
              <a:gd name="T47" fmla="*/ 1004576 h 398"/>
              <a:gd name="T48" fmla="*/ 764426 w 369"/>
              <a:gd name="T49" fmla="*/ 1080681 h 39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369" h="398">
                <a:moveTo>
                  <a:pt x="369" y="170"/>
                </a:moveTo>
                <a:cubicBezTo>
                  <a:pt x="368" y="147"/>
                  <a:pt x="358" y="127"/>
                  <a:pt x="341" y="114"/>
                </a:cubicBezTo>
                <a:cubicBezTo>
                  <a:pt x="351" y="59"/>
                  <a:pt x="294" y="12"/>
                  <a:pt x="242" y="34"/>
                </a:cubicBezTo>
                <a:cubicBezTo>
                  <a:pt x="212" y="0"/>
                  <a:pt x="157" y="2"/>
                  <a:pt x="129" y="38"/>
                </a:cubicBezTo>
                <a:cubicBezTo>
                  <a:pt x="66" y="8"/>
                  <a:pt x="0" y="80"/>
                  <a:pt x="36" y="141"/>
                </a:cubicBezTo>
                <a:cubicBezTo>
                  <a:pt x="5" y="197"/>
                  <a:pt x="60" y="264"/>
                  <a:pt x="121" y="245"/>
                </a:cubicBezTo>
                <a:cubicBezTo>
                  <a:pt x="135" y="271"/>
                  <a:pt x="147" y="294"/>
                  <a:pt x="170" y="312"/>
                </a:cubicBezTo>
                <a:cubicBezTo>
                  <a:pt x="170" y="341"/>
                  <a:pt x="164" y="370"/>
                  <a:pt x="165" y="398"/>
                </a:cubicBezTo>
                <a:cubicBezTo>
                  <a:pt x="198" y="398"/>
                  <a:pt x="198" y="398"/>
                  <a:pt x="198" y="398"/>
                </a:cubicBezTo>
                <a:cubicBezTo>
                  <a:pt x="193" y="373"/>
                  <a:pt x="202" y="346"/>
                  <a:pt x="202" y="320"/>
                </a:cubicBezTo>
                <a:cubicBezTo>
                  <a:pt x="206" y="309"/>
                  <a:pt x="207" y="297"/>
                  <a:pt x="234" y="279"/>
                </a:cubicBezTo>
                <a:cubicBezTo>
                  <a:pt x="241" y="275"/>
                  <a:pt x="248" y="272"/>
                  <a:pt x="255" y="268"/>
                </a:cubicBezTo>
                <a:cubicBezTo>
                  <a:pt x="283" y="269"/>
                  <a:pt x="316" y="259"/>
                  <a:pt x="331" y="234"/>
                </a:cubicBezTo>
                <a:cubicBezTo>
                  <a:pt x="354" y="222"/>
                  <a:pt x="369" y="198"/>
                  <a:pt x="369" y="170"/>
                </a:cubicBezTo>
                <a:close/>
                <a:moveTo>
                  <a:pt x="157" y="287"/>
                </a:moveTo>
                <a:cubicBezTo>
                  <a:pt x="144" y="276"/>
                  <a:pt x="134" y="258"/>
                  <a:pt x="124" y="244"/>
                </a:cubicBezTo>
                <a:cubicBezTo>
                  <a:pt x="126" y="244"/>
                  <a:pt x="128" y="243"/>
                  <a:pt x="130" y="242"/>
                </a:cubicBezTo>
                <a:cubicBezTo>
                  <a:pt x="139" y="252"/>
                  <a:pt x="151" y="259"/>
                  <a:pt x="165" y="261"/>
                </a:cubicBezTo>
                <a:cubicBezTo>
                  <a:pt x="169" y="272"/>
                  <a:pt x="170" y="284"/>
                  <a:pt x="170" y="296"/>
                </a:cubicBezTo>
                <a:cubicBezTo>
                  <a:pt x="166" y="293"/>
                  <a:pt x="161" y="290"/>
                  <a:pt x="157" y="287"/>
                </a:cubicBezTo>
                <a:close/>
                <a:moveTo>
                  <a:pt x="201" y="284"/>
                </a:moveTo>
                <a:cubicBezTo>
                  <a:pt x="200" y="274"/>
                  <a:pt x="199" y="265"/>
                  <a:pt x="198" y="256"/>
                </a:cubicBezTo>
                <a:cubicBezTo>
                  <a:pt x="201" y="254"/>
                  <a:pt x="204" y="252"/>
                  <a:pt x="207" y="250"/>
                </a:cubicBezTo>
                <a:cubicBezTo>
                  <a:pt x="214" y="256"/>
                  <a:pt x="224" y="261"/>
                  <a:pt x="235" y="264"/>
                </a:cubicBezTo>
                <a:cubicBezTo>
                  <a:pt x="222" y="269"/>
                  <a:pt x="211" y="274"/>
                  <a:pt x="201" y="284"/>
                </a:cubicBezTo>
                <a:close/>
              </a:path>
            </a:pathLst>
          </a:custGeom>
          <a:solidFill>
            <a:srgbClr val="7FB905"/>
          </a:solidFill>
          <a:ln>
            <a:noFill/>
          </a:ln>
        </p:spPr>
        <p:txBody>
          <a:bodyPr/>
          <a:lstStyle/>
          <a:p>
            <a:pPr defTabSz="914354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kern="0">
              <a:solidFill>
                <a:srgbClr val="414042"/>
              </a:solidFill>
              <a:latin typeface="Calibri" panose="020F0502020204030204" pitchFamily="34" charset="0"/>
              <a:cs typeface="Arial"/>
              <a:sym typeface="Arial"/>
            </a:endParaRPr>
          </a:p>
        </p:txBody>
      </p:sp>
      <p:cxnSp>
        <p:nvCxnSpPr>
          <p:cNvPr id="64" name="直線單箭頭接點 63"/>
          <p:cNvCxnSpPr>
            <a:stCxn id="12" idx="0"/>
          </p:cNvCxnSpPr>
          <p:nvPr/>
        </p:nvCxnSpPr>
        <p:spPr>
          <a:xfrm flipH="1" flipV="1">
            <a:off x="5810165" y="4491963"/>
            <a:ext cx="1862347" cy="604639"/>
          </a:xfrm>
          <a:prstGeom prst="straightConnector1">
            <a:avLst/>
          </a:prstGeom>
          <a:ln>
            <a:solidFill>
              <a:srgbClr val="26A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線單箭頭接點 65"/>
          <p:cNvCxnSpPr>
            <a:stCxn id="12" idx="0"/>
            <a:endCxn id="9" idx="2"/>
          </p:cNvCxnSpPr>
          <p:nvPr/>
        </p:nvCxnSpPr>
        <p:spPr>
          <a:xfrm flipH="1" flipV="1">
            <a:off x="7669119" y="3969466"/>
            <a:ext cx="3392" cy="1127137"/>
          </a:xfrm>
          <a:prstGeom prst="straightConnector1">
            <a:avLst/>
          </a:prstGeom>
          <a:ln>
            <a:solidFill>
              <a:srgbClr val="26A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單箭頭接點 67"/>
          <p:cNvCxnSpPr>
            <a:stCxn id="12" idx="0"/>
            <a:endCxn id="10" idx="2"/>
          </p:cNvCxnSpPr>
          <p:nvPr/>
        </p:nvCxnSpPr>
        <p:spPr>
          <a:xfrm flipV="1">
            <a:off x="7672514" y="4446603"/>
            <a:ext cx="1879873" cy="649999"/>
          </a:xfrm>
          <a:prstGeom prst="straightConnector1">
            <a:avLst/>
          </a:prstGeom>
          <a:ln>
            <a:solidFill>
              <a:srgbClr val="26AA7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文字方塊 82"/>
          <p:cNvSpPr txBox="1"/>
          <p:nvPr/>
        </p:nvSpPr>
        <p:spPr>
          <a:xfrm>
            <a:off x="6921957" y="4680180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>
              <a:defRPr/>
            </a:pPr>
            <a:r>
              <a:rPr lang="zh-TW" altLang="en-US" b="1" dirty="0">
                <a:solidFill>
                  <a:srgbClr val="26AA7B"/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減輕環境壓力</a:t>
            </a:r>
          </a:p>
        </p:txBody>
      </p:sp>
      <p:pic>
        <p:nvPicPr>
          <p:cNvPr id="84" name="圖片 8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4414" y="3744249"/>
            <a:ext cx="640135" cy="207283"/>
          </a:xfrm>
          <a:prstGeom prst="rect">
            <a:avLst/>
          </a:prstGeom>
        </p:spPr>
      </p:pic>
      <p:cxnSp>
        <p:nvCxnSpPr>
          <p:cNvPr id="102" name="弧形接點 101"/>
          <p:cNvCxnSpPr>
            <a:stCxn id="8" idx="0"/>
            <a:endCxn id="10" idx="0"/>
          </p:cNvCxnSpPr>
          <p:nvPr/>
        </p:nvCxnSpPr>
        <p:spPr>
          <a:xfrm rot="5400000" flipH="1" flipV="1">
            <a:off x="7715047" y="772189"/>
            <a:ext cx="12700" cy="3674675"/>
          </a:xfrm>
          <a:prstGeom prst="curvedConnector3">
            <a:avLst>
              <a:gd name="adj1" fmla="val 7181819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矩形 30"/>
          <p:cNvSpPr/>
          <p:nvPr/>
        </p:nvSpPr>
        <p:spPr>
          <a:xfrm>
            <a:off x="1272506" y="2295876"/>
            <a:ext cx="27494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>
              <a:defRPr/>
            </a:pPr>
            <a:r>
              <a:rPr lang="zh-TW" altLang="en-US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技術篩選標準設計邏輯</a:t>
            </a: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8D0DEB8F-27A6-DC43-80B1-75D38B062B54}"/>
              </a:ext>
            </a:extLst>
          </p:cNvPr>
          <p:cNvSpPr txBox="1"/>
          <p:nvPr/>
        </p:nvSpPr>
        <p:spPr>
          <a:xfrm>
            <a:off x="778485" y="5888688"/>
            <a:ext cx="491187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kumimoji="1" lang="zh-TW" altLang="en-US" sz="1867" dirty="0">
                <a:solidFill>
                  <a:prstClr val="black"/>
                </a:solidFill>
                <a:latin typeface="Calibri" panose="020F0502020204030204"/>
                <a:ea typeface="新細明體" panose="02020500000000000000" pitchFamily="18" charset="-120"/>
                <a:cs typeface="Arial"/>
                <a:sym typeface="Arial"/>
              </a:rPr>
              <a:t>資料來源：資策會科法所蔡淳宇</a:t>
            </a:r>
          </a:p>
        </p:txBody>
      </p:sp>
    </p:spTree>
    <p:extLst>
      <p:ext uri="{BB962C8B-B14F-4D97-AF65-F5344CB8AC3E}">
        <p14:creationId xmlns:p14="http://schemas.microsoft.com/office/powerpoint/2010/main" val="26610403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F760C61-A77A-49DA-B788-E156D09B6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8451" y="165101"/>
            <a:ext cx="11893549" cy="647700"/>
          </a:xfrm>
        </p:spPr>
        <p:txBody>
          <a:bodyPr>
            <a:normAutofit/>
          </a:bodyPr>
          <a:lstStyle/>
          <a:p>
            <a:r>
              <a:rPr lang="zh-TW" altLang="en-US" sz="3600">
                <a:cs typeface="Heiti TC Medium" pitchFamily="2" charset="-128"/>
              </a:rPr>
              <a:t>礦業（非金屬製程） </a:t>
            </a:r>
            <a:r>
              <a:rPr lang="en-US" altLang="zh-TW" sz="3600">
                <a:cs typeface="Heiti TC Medium" pitchFamily="2" charset="-128"/>
              </a:rPr>
              <a:t>–</a:t>
            </a:r>
            <a:r>
              <a:rPr lang="zh-TW" altLang="en-US" sz="3600">
                <a:cs typeface="Heiti TC Medium" pitchFamily="2" charset="-128"/>
              </a:rPr>
              <a:t> 水泥生產　</a:t>
            </a:r>
            <a:r>
              <a:rPr lang="zh-TW" altLang="en-US" sz="2667">
                <a:cs typeface="Heiti TC Medium" pitchFamily="2" charset="-128"/>
              </a:rPr>
              <a:t>歐盟 </a:t>
            </a:r>
          </a:p>
        </p:txBody>
      </p:sp>
      <p:sp>
        <p:nvSpPr>
          <p:cNvPr id="164866" name="投影片編號版面配置區 3">
            <a:extLst>
              <a:ext uri="{FF2B5EF4-FFF2-40B4-BE49-F238E27FC236}">
                <a16:creationId xmlns:a16="http://schemas.microsoft.com/office/drawing/2014/main" id="{AAA982A6-8BC6-481C-BEBF-08C81F0F74B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A367A34C-7B63-4C2B-A3FC-6D8B90379D5A}"/>
              </a:ext>
            </a:extLst>
          </p:cNvPr>
          <p:cNvGraphicFramePr>
            <a:graphicFrameLocks noGrp="1"/>
          </p:cNvGraphicFramePr>
          <p:nvPr/>
        </p:nvGraphicFramePr>
        <p:xfrm>
          <a:off x="273051" y="994834"/>
          <a:ext cx="11669182" cy="5363634"/>
        </p:xfrm>
        <a:graphic>
          <a:graphicData uri="http://schemas.openxmlformats.org/drawingml/2006/table">
            <a:tbl>
              <a:tblPr/>
              <a:tblGrid>
                <a:gridCol w="1746249">
                  <a:extLst>
                    <a:ext uri="{9D8B030D-6E8A-4147-A177-3AD203B41FA5}">
                      <a16:colId xmlns:a16="http://schemas.microsoft.com/office/drawing/2014/main" val="2907591353"/>
                    </a:ext>
                  </a:extLst>
                </a:gridCol>
                <a:gridCol w="9922933">
                  <a:extLst>
                    <a:ext uri="{9D8B030D-6E8A-4147-A177-3AD203B41FA5}">
                      <a16:colId xmlns:a16="http://schemas.microsoft.com/office/drawing/2014/main" val="2184471339"/>
                    </a:ext>
                  </a:extLst>
                </a:gridCol>
              </a:tblGrid>
              <a:tr h="5969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減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7800" indent="-1778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7800" marR="0" lvl="0" indent="-17780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泥熟料：≦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766 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與水泥熟料或水泥生產過程相關：≦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498 tCO2e</a:t>
                      </a:r>
                      <a:endParaRPr kumimoji="0" lang="zh-TW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3592778"/>
                  </a:ext>
                </a:extLst>
              </a:tr>
              <a:tr h="8339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未造成重大危害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（右為重大危害定義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與水泥窯中化石燃料的消耗和燃燒反應有關的空氣污染排放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位於缺水地區生產設施的用水量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泥生產過程中燃料替代品的（有害）廢物處理和儲存可能會汙染土壤和地下水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684968"/>
                  </a:ext>
                </a:extLst>
              </a:tr>
              <a:tr h="15451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降低重大實際氣候風險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考慮目前天氣多變性和未來的氣候變遷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基於對可用氣候數據的可靠分析、與對各種未來情境的預測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與經濟活動預期的生命週期一致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支援系統調適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活動不會導致對其他的氣候風險增加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3505891"/>
                  </a:ext>
                </a:extLst>
              </a:tr>
              <a:tr h="5969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辨識及管理相關風險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符合歐盟水相關法規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0210227"/>
                  </a:ext>
                </a:extLst>
              </a:tr>
              <a:tr h="5969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泥製造廠可使用來自廢棄物的替代燃料，如固體廢棄物燃料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SRF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二次料，如如再生混凝土骨料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RCA)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使用有害廢棄物作為替代燃料， 需符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EU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廢棄物管理計畫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338592"/>
                  </a:ext>
                </a:extLst>
              </a:tr>
              <a:tr h="5969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排放廢水、廢氣，符合歐盟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BREFs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中的水泥、石灰和氧化鎂生產排放標準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BAT-AEL)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符合認驗證標準，如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ISO14001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EMAS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或同等標準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541044"/>
                  </a:ext>
                </a:extLst>
              </a:tr>
              <a:tr h="5969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廠區作業符合歐盟相關指令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14/52/EU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01/42/EC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或同等級之國際標準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鄰近生物多樣性敏感區的廠區，符合歐盟生物多樣性策略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COM 2011 244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鳥類準則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2009/147/EC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棲地準則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92/43/ EEC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9611701"/>
                  </a:ext>
                </a:extLst>
              </a:tr>
            </a:tbl>
          </a:graphicData>
        </a:graphic>
      </p:graphicFrame>
      <p:sp>
        <p:nvSpPr>
          <p:cNvPr id="164893" name="文字方塊 4">
            <a:extLst>
              <a:ext uri="{FF2B5EF4-FFF2-40B4-BE49-F238E27FC236}">
                <a16:creationId xmlns:a16="http://schemas.microsoft.com/office/drawing/2014/main" id="{C54755A0-40CD-47F6-A00A-27D03FA57418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3064934" y="6441018"/>
            <a:ext cx="7048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defTabSz="609585">
              <a:defRPr/>
            </a:pPr>
            <a:r>
              <a:rPr lang="zh-TW" altLang="en-US" sz="1200">
                <a:solidFill>
                  <a:srgbClr val="000000"/>
                </a:solidFill>
                <a:latin typeface="微軟正黑體" panose="020B0604030504040204" pitchFamily="34" charset="-120"/>
                <a:cs typeface="Arial"/>
                <a:sym typeface="Arial"/>
              </a:rPr>
              <a:t>資料來源 </a:t>
            </a:r>
            <a:r>
              <a:rPr lang="en-US" altLang="zh-TW" sz="1200">
                <a:solidFill>
                  <a:srgbClr val="000000"/>
                </a:solidFill>
                <a:latin typeface="微軟正黑體" panose="020B0604030504040204" pitchFamily="34" charset="-120"/>
                <a:cs typeface="Arial"/>
                <a:sym typeface="Arial"/>
              </a:rPr>
              <a:t>:</a:t>
            </a:r>
            <a:r>
              <a:rPr lang="zh-TW" altLang="en-US" sz="1200">
                <a:solidFill>
                  <a:srgbClr val="000000"/>
                </a:solidFill>
                <a:latin typeface="微軟正黑體" panose="020B0604030504040204" pitchFamily="34" charset="-120"/>
                <a:cs typeface="Arial"/>
                <a:sym typeface="Arial"/>
              </a:rPr>
              <a:t> 歐盟</a:t>
            </a:r>
            <a:r>
              <a:rPr lang="en-US" altLang="zh-TW" sz="1200">
                <a:solidFill>
                  <a:srgbClr val="000000"/>
                </a:solidFill>
                <a:latin typeface="微軟正黑體" panose="020B0604030504040204" pitchFamily="34" charset="-120"/>
                <a:cs typeface="Arial"/>
                <a:sym typeface="Arial"/>
              </a:rPr>
              <a:t>《Taxonomy: Final report of the Technical Expert》</a:t>
            </a:r>
          </a:p>
        </p:txBody>
      </p:sp>
    </p:spTree>
    <p:extLst>
      <p:ext uri="{BB962C8B-B14F-4D97-AF65-F5344CB8AC3E}">
        <p14:creationId xmlns:p14="http://schemas.microsoft.com/office/powerpoint/2010/main" val="146047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6991"/>
            <a:ext cx="5597504" cy="683101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6096000" y="1048293"/>
            <a:ext cx="139012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400" b="1" i="0" u="none" strike="noStrike" kern="1200" cap="none" spc="30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rPr>
              <a:t>大綱</a:t>
            </a:r>
            <a:endParaRPr kumimoji="0" lang="zh-CN" altLang="en-US" sz="4400" b="1" i="0" u="none" strike="noStrike" kern="1200" cap="none" spc="30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ea"/>
              <a:sym typeface="+mn-lt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6095999" y="1817734"/>
            <a:ext cx="2487168" cy="0"/>
          </a:xfrm>
          <a:prstGeom prst="line">
            <a:avLst/>
          </a:prstGeom>
          <a:ln w="25400">
            <a:solidFill>
              <a:srgbClr val="3CC8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圆角矩形 9"/>
          <p:cNvSpPr/>
          <p:nvPr/>
        </p:nvSpPr>
        <p:spPr>
          <a:xfrm rot="2700000">
            <a:off x="10787656" y="156231"/>
            <a:ext cx="754354" cy="754354"/>
          </a:xfrm>
          <a:prstGeom prst="roundRect">
            <a:avLst>
              <a:gd name="adj" fmla="val 6887"/>
            </a:avLst>
          </a:prstGeom>
          <a:solidFill>
            <a:schemeClr val="bg1"/>
          </a:solidFill>
          <a:ln w="12700">
            <a:noFill/>
          </a:ln>
          <a:effectLst>
            <a:innerShdw blurRad="190500" dist="50800" dir="13500000">
              <a:prstClr val="black">
                <a:alpha val="2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ea"/>
              <a:sym typeface="+mn-lt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10823156" y="563905"/>
            <a:ext cx="683354" cy="683354"/>
            <a:chOff x="3700441" y="1274408"/>
            <a:chExt cx="1646508" cy="1646508"/>
          </a:xfrm>
        </p:grpSpPr>
        <p:sp>
          <p:nvSpPr>
            <p:cNvPr id="12" name="圆角矩形 11"/>
            <p:cNvSpPr/>
            <p:nvPr/>
          </p:nvSpPr>
          <p:spPr>
            <a:xfrm rot="2700000">
              <a:off x="3700441" y="1274408"/>
              <a:ext cx="1646508" cy="1646508"/>
            </a:xfrm>
            <a:prstGeom prst="roundRect">
              <a:avLst>
                <a:gd name="adj" fmla="val 6887"/>
              </a:avLst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ea"/>
                <a:sym typeface="+mn-lt"/>
              </a:endParaRPr>
            </a:p>
          </p:txBody>
        </p:sp>
        <p:sp>
          <p:nvSpPr>
            <p:cNvPr id="13" name="圆角矩形 12"/>
            <p:cNvSpPr/>
            <p:nvPr/>
          </p:nvSpPr>
          <p:spPr>
            <a:xfrm rot="2700000">
              <a:off x="3794878" y="1368844"/>
              <a:ext cx="1457637" cy="1457637"/>
            </a:xfrm>
            <a:prstGeom prst="roundRect">
              <a:avLst>
                <a:gd name="adj" fmla="val 6887"/>
              </a:avLst>
            </a:prstGeom>
            <a:solidFill>
              <a:schemeClr val="bg1"/>
            </a:solidFill>
            <a:ln w="12700">
              <a:noFill/>
            </a:ln>
            <a:effectLst>
              <a:innerShdw blurRad="190500" dist="50800" dir="13500000">
                <a:prstClr val="black">
                  <a:alpha val="3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ea"/>
                <a:sym typeface="+mn-lt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10854928" y="1231773"/>
            <a:ext cx="619809" cy="619809"/>
            <a:chOff x="3700441" y="1274408"/>
            <a:chExt cx="1646508" cy="1646508"/>
          </a:xfrm>
        </p:grpSpPr>
        <p:sp>
          <p:nvSpPr>
            <p:cNvPr id="15" name="圆角矩形 14"/>
            <p:cNvSpPr/>
            <p:nvPr/>
          </p:nvSpPr>
          <p:spPr>
            <a:xfrm rot="2700000">
              <a:off x="3700441" y="1274408"/>
              <a:ext cx="1646508" cy="1646508"/>
            </a:xfrm>
            <a:prstGeom prst="roundRect">
              <a:avLst>
                <a:gd name="adj" fmla="val 6887"/>
              </a:avLst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ea"/>
                <a:sym typeface="+mn-lt"/>
              </a:endParaRPr>
            </a:p>
          </p:txBody>
        </p:sp>
        <p:sp>
          <p:nvSpPr>
            <p:cNvPr id="16" name="圆角矩形 15"/>
            <p:cNvSpPr/>
            <p:nvPr/>
          </p:nvSpPr>
          <p:spPr>
            <a:xfrm rot="2700000">
              <a:off x="3794878" y="1368844"/>
              <a:ext cx="1457637" cy="1457637"/>
            </a:xfrm>
            <a:prstGeom prst="roundRect">
              <a:avLst>
                <a:gd name="adj" fmla="val 6887"/>
              </a:avLst>
            </a:prstGeom>
            <a:solidFill>
              <a:schemeClr val="bg1"/>
            </a:solidFill>
            <a:ln w="12700">
              <a:noFill/>
            </a:ln>
            <a:effectLst>
              <a:innerShdw blurRad="190500" dist="50800" dir="13500000">
                <a:prstClr val="black">
                  <a:alpha val="3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ea"/>
                <a:sym typeface="+mn-lt"/>
              </a:endParaRPr>
            </a:p>
          </p:txBody>
        </p:sp>
      </p:grpSp>
      <p:sp>
        <p:nvSpPr>
          <p:cNvPr id="2" name="文本框 1"/>
          <p:cNvSpPr txBox="1"/>
          <p:nvPr/>
        </p:nvSpPr>
        <p:spPr>
          <a:xfrm>
            <a:off x="3790765" y="239697"/>
            <a:ext cx="3258105" cy="381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https://www.ypppt.com/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0F2FCAAA-850F-4A81-88A2-7A383C144A03}"/>
              </a:ext>
            </a:extLst>
          </p:cNvPr>
          <p:cNvSpPr txBox="1">
            <a:spLocks/>
          </p:cNvSpPr>
          <p:nvPr/>
        </p:nvSpPr>
        <p:spPr>
          <a:xfrm>
            <a:off x="6061741" y="2089000"/>
            <a:ext cx="5491090" cy="4662488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70000"/>
              </a:lnSpc>
              <a:buFont typeface="Wingdings" pitchFamily="2" charset="2"/>
              <a:buChar char="n"/>
            </a:pPr>
            <a:r>
              <a:rPr kumimoji="1" lang="zh-TW" altLang="en-US" sz="32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</a:rPr>
              <a:t>前言</a:t>
            </a:r>
            <a:endParaRPr kumimoji="1" lang="en-US" altLang="zh-TW" sz="32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</a:endParaRPr>
          </a:p>
          <a:p>
            <a:pPr>
              <a:lnSpc>
                <a:spcPct val="170000"/>
              </a:lnSpc>
              <a:buFont typeface="Wingdings" pitchFamily="2" charset="2"/>
              <a:buChar char="n"/>
            </a:pPr>
            <a:r>
              <a:rPr kumimoji="1" lang="zh-TW" altLang="en-US" sz="32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環境外部成本知多少？</a:t>
            </a:r>
            <a:endParaRPr kumimoji="1" lang="en-US" altLang="zh-TW" sz="32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  <a:p>
            <a:pPr>
              <a:lnSpc>
                <a:spcPct val="170000"/>
              </a:lnSpc>
              <a:buFont typeface="Wingdings" pitchFamily="2" charset="2"/>
              <a:buChar char="n"/>
            </a:pPr>
            <a:r>
              <a:rPr kumimoji="1" lang="zh-TW" altLang="en-US" sz="32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經濟活動的永續標準</a:t>
            </a:r>
            <a:endParaRPr kumimoji="1" lang="en-US" altLang="zh-TW" sz="32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  <a:p>
            <a:pPr>
              <a:lnSpc>
                <a:spcPct val="170000"/>
              </a:lnSpc>
              <a:buFont typeface="Wingdings" pitchFamily="2" charset="2"/>
              <a:buChar char="n"/>
            </a:pPr>
            <a:r>
              <a:rPr kumimoji="1" lang="zh-TW" altLang="en-US" sz="32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碳中和之道</a:t>
            </a:r>
            <a:endParaRPr kumimoji="1" lang="en-US" altLang="zh-TW" sz="32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  <a:p>
            <a:pPr lvl="1">
              <a:lnSpc>
                <a:spcPct val="170000"/>
              </a:lnSpc>
              <a:buFont typeface="Wingdings" pitchFamily="2" charset="2"/>
              <a:buChar char="ü"/>
            </a:pPr>
            <a:r>
              <a:rPr kumimoji="1" lang="zh-TW" altLang="en-US" sz="28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的角色：以服飾業為例</a:t>
            </a:r>
            <a:endParaRPr kumimoji="1" lang="en-US" altLang="zh-TW" sz="28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  <a:p>
            <a:pPr lvl="1">
              <a:lnSpc>
                <a:spcPct val="170000"/>
              </a:lnSpc>
              <a:buFont typeface="Wingdings" pitchFamily="2" charset="2"/>
              <a:buChar char="ü"/>
            </a:pPr>
            <a:r>
              <a:rPr kumimoji="1" lang="zh-TW" altLang="en-US" sz="28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台灣企業的挑戰</a:t>
            </a:r>
            <a:endParaRPr kumimoji="1" lang="en-US" altLang="zh-TW" sz="32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72937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13" name="標題 1">
            <a:extLst>
              <a:ext uri="{FF2B5EF4-FFF2-40B4-BE49-F238E27FC236}">
                <a16:creationId xmlns:a16="http://schemas.microsoft.com/office/drawing/2014/main" id="{8D482736-3858-41C4-B533-D94410C40C4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21168"/>
            <a:ext cx="10515600" cy="1325033"/>
          </a:xfrm>
        </p:spPr>
        <p:txBody>
          <a:bodyPr/>
          <a:lstStyle/>
          <a:p>
            <a:r>
              <a:rPr lang="zh-TW" altLang="en-US" sz="4000">
                <a:cs typeface="Heiti TC Medium" pitchFamily="2" charset="-128"/>
              </a:rPr>
              <a:t>金屬製程 </a:t>
            </a:r>
            <a:r>
              <a:rPr lang="en-US" altLang="zh-TW" sz="4000">
                <a:cs typeface="Heiti TC Medium" pitchFamily="2" charset="-128"/>
              </a:rPr>
              <a:t>– </a:t>
            </a:r>
            <a:r>
              <a:rPr lang="zh-TW" altLang="en-US" sz="4000">
                <a:cs typeface="Heiti TC Medium" pitchFamily="2" charset="-128"/>
              </a:rPr>
              <a:t>鋼鐵生產　</a:t>
            </a:r>
            <a:r>
              <a:rPr lang="zh-TW" altLang="en-US" sz="2667">
                <a:cs typeface="Heiti TC Medium" pitchFamily="2" charset="-128"/>
              </a:rPr>
              <a:t>歐盟 鋼鐵</a:t>
            </a:r>
          </a:p>
        </p:txBody>
      </p:sp>
      <p:sp>
        <p:nvSpPr>
          <p:cNvPr id="166914" name="投影片編號版面配置區 3">
            <a:extLst>
              <a:ext uri="{FF2B5EF4-FFF2-40B4-BE49-F238E27FC236}">
                <a16:creationId xmlns:a16="http://schemas.microsoft.com/office/drawing/2014/main" id="{D45A6913-12A4-4CD4-993B-718487CEF61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B385EEE1-FD9E-464B-A112-9A4E29EEBB72}"/>
              </a:ext>
            </a:extLst>
          </p:cNvPr>
          <p:cNvGraphicFramePr>
            <a:graphicFrameLocks noGrp="1"/>
          </p:cNvGraphicFramePr>
          <p:nvPr/>
        </p:nvGraphicFramePr>
        <p:xfrm>
          <a:off x="152400" y="1062567"/>
          <a:ext cx="11887200" cy="5615519"/>
        </p:xfrm>
        <a:graphic>
          <a:graphicData uri="http://schemas.openxmlformats.org/drawingml/2006/table">
            <a:tbl>
              <a:tblPr/>
              <a:tblGrid>
                <a:gridCol w="1778000">
                  <a:extLst>
                    <a:ext uri="{9D8B030D-6E8A-4147-A177-3AD203B41FA5}">
                      <a16:colId xmlns:a16="http://schemas.microsoft.com/office/drawing/2014/main" val="3680900845"/>
                    </a:ext>
                  </a:extLst>
                </a:gridCol>
                <a:gridCol w="10109200">
                  <a:extLst>
                    <a:ext uri="{9D8B030D-6E8A-4147-A177-3AD203B41FA5}">
                      <a16:colId xmlns:a16="http://schemas.microsoft.com/office/drawing/2014/main" val="3114012046"/>
                    </a:ext>
                  </a:extLst>
                </a:gridCol>
              </a:tblGrid>
              <a:tr h="11387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減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7800" indent="-1778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溶化生鐵 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1.328 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燒結礦 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171 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鑄鐵 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325 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電弧爐 高合金鋼 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352 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電弧爐 碳鋼 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283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tCO2e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焦炭（不含褐煤焦碳）≦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286 tCO2e</a:t>
                      </a:r>
                      <a:endParaRPr kumimoji="0" lang="zh-TW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6458296"/>
                  </a:ext>
                </a:extLst>
              </a:tr>
              <a:tr h="11387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未造成重大危害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（右為重大危害定義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焦炭製作和冶煉過程排放顆粒物（粉塵）、氮氧化物、二氧化硫、一氧化碳、氯化物、氟化物、揮發性有機化合物、多環芳烴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PAHs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、多氯代二苯並二噁英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呋喃和重金屬等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向水中排放碳氫化合物、懸浮固體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在水資源短缺地區，進行冷卻焦炭和冷卻操作的水消耗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汙染排放可能影響生態環境和生物多樣性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焦化和冶煉過程中產生的廢棄物或副產品，包括高爐礦渣、焦油和苯甲酸酯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9352495"/>
                  </a:ext>
                </a:extLst>
              </a:tr>
              <a:tr h="1458384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降低重大實際氣候風險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考慮目前天氣多變性和未來的氣候變遷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基於對可用氣候數據的可靠分析、與對各種未來情境的預測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與經濟活動預期的生命週期一致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支援系統調適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活動不會導致對其他的氣候風險增加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383208"/>
                  </a:ext>
                </a:extLst>
              </a:tr>
              <a:tr h="54821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辨識及管理相關風險等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符合歐盟水相關法規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9742694"/>
                  </a:ext>
                </a:extLst>
              </a:tr>
              <a:tr h="3217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需符合歐盟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BREFs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規範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4236950"/>
                  </a:ext>
                </a:extLst>
              </a:tr>
              <a:tr h="4614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空氣、水資源污染排放量，如氮氧化物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NOx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氨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NH3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符合歐盟等相關排放標準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BAT-AEL)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符合認驗證標準，如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ISO14001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9532406"/>
                  </a:ext>
                </a:extLst>
              </a:tr>
              <a:tr h="54821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廠區作業符合歐盟相關指令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14/52/EU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01/42/EC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或同等級之國際標準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鄰近生物多樣性敏感區的廠區，符合歐盟生物多樣性策略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COM 2011 244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鳥類準則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2009/147/EC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、棲地準則 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92/43/ EEC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2023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85794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1" name="標題 1">
            <a:extLst>
              <a:ext uri="{FF2B5EF4-FFF2-40B4-BE49-F238E27FC236}">
                <a16:creationId xmlns:a16="http://schemas.microsoft.com/office/drawing/2014/main" id="{AF3FC7B4-D12F-45BF-9F15-C9DC7B1E10D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19667" y="1"/>
            <a:ext cx="10515600" cy="1325033"/>
          </a:xfrm>
        </p:spPr>
        <p:txBody>
          <a:bodyPr/>
          <a:lstStyle/>
          <a:p>
            <a:r>
              <a:rPr lang="zh-TW" altLang="en-US" sz="4000">
                <a:cs typeface="Heiti TC Medium" pitchFamily="2" charset="-128"/>
              </a:rPr>
              <a:t>不動產</a:t>
            </a:r>
            <a:r>
              <a:rPr lang="en-US" altLang="zh-TW" sz="4000">
                <a:cs typeface="Heiti TC Medium" pitchFamily="2" charset="-128"/>
              </a:rPr>
              <a:t>/</a:t>
            </a:r>
            <a:r>
              <a:rPr lang="zh-TW" altLang="en-US" sz="4000">
                <a:cs typeface="Heiti TC Medium" pitchFamily="2" charset="-128"/>
              </a:rPr>
              <a:t>建築業 </a:t>
            </a:r>
            <a:r>
              <a:rPr lang="en-US" altLang="zh-TW" sz="4000">
                <a:cs typeface="Heiti TC Medium" pitchFamily="2" charset="-128"/>
              </a:rPr>
              <a:t>–</a:t>
            </a:r>
            <a:r>
              <a:rPr lang="zh-TW" altLang="en-US" sz="4000">
                <a:cs typeface="Heiti TC Medium" pitchFamily="2" charset="-128"/>
              </a:rPr>
              <a:t> 新建築物　</a:t>
            </a:r>
            <a:r>
              <a:rPr lang="zh-TW" altLang="en-US" sz="2667">
                <a:cs typeface="Heiti TC Medium" pitchFamily="2" charset="-128"/>
              </a:rPr>
              <a:t>歐盟 </a:t>
            </a:r>
          </a:p>
        </p:txBody>
      </p:sp>
      <p:sp>
        <p:nvSpPr>
          <p:cNvPr id="168962" name="投影片編號版面配置區 3">
            <a:extLst>
              <a:ext uri="{FF2B5EF4-FFF2-40B4-BE49-F238E27FC236}">
                <a16:creationId xmlns:a16="http://schemas.microsoft.com/office/drawing/2014/main" id="{33BE33D7-7D88-4287-A039-09A2C54EB48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1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F780DFE8-E449-4D5C-AE08-F20DD4430D77}"/>
              </a:ext>
            </a:extLst>
          </p:cNvPr>
          <p:cNvGraphicFramePr>
            <a:graphicFrameLocks noGrp="1"/>
          </p:cNvGraphicFramePr>
          <p:nvPr/>
        </p:nvGraphicFramePr>
        <p:xfrm>
          <a:off x="220134" y="988485"/>
          <a:ext cx="11751734" cy="5613906"/>
        </p:xfrm>
        <a:graphic>
          <a:graphicData uri="http://schemas.openxmlformats.org/drawingml/2006/table">
            <a:tbl>
              <a:tblPr/>
              <a:tblGrid>
                <a:gridCol w="2101851">
                  <a:extLst>
                    <a:ext uri="{9D8B030D-6E8A-4147-A177-3AD203B41FA5}">
                      <a16:colId xmlns:a16="http://schemas.microsoft.com/office/drawing/2014/main" val="4219073483"/>
                    </a:ext>
                  </a:extLst>
                </a:gridCol>
                <a:gridCol w="9649883">
                  <a:extLst>
                    <a:ext uri="{9D8B030D-6E8A-4147-A177-3AD203B41FA5}">
                      <a16:colId xmlns:a16="http://schemas.microsoft.com/office/drawing/2014/main" val="3071496772"/>
                    </a:ext>
                  </a:extLst>
                </a:gridCol>
              </a:tblGrid>
              <a:tr h="1321308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減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7800" indent="-1778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a).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新建築物的能源績效，其基本能源需求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Primary Energy Demand (PED)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須以零碳建築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zero-energy building (NZEB)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所制定標準能降低至少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%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以上能耗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b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對於面積大於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5000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平方公尺的新建建築物，須進行氣密性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air-tightness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及熱能整合性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thermal integrity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檢測，對於任何缺失，需對投資人及購屋顧客進行忠實資訊揭露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c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對於面積大於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5000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平方公尺的新建建築物，需估算在建物興建過程每一階段其全球暖化潛勢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global warming potential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值數據，對投資人及購屋顧客進行忠實資訊揭露。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783131"/>
                  </a:ext>
                </a:extLst>
              </a:tr>
              <a:tr h="5122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未造成重大危害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（右為重大危害定義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endParaRPr kumimoji="0" lang="zh-TW" alt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001189"/>
                  </a:ext>
                </a:extLst>
              </a:tr>
              <a:tr h="3090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營運活動須符合分類標準附錄相關規定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053692"/>
                  </a:ext>
                </a:extLst>
              </a:tr>
              <a:tr h="11218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飲用水設施需符合歐盟相關廠品標章認證規定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洗手盆水龍頭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廚房水龍頭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淋浴廚房水龍頭每分鐘出水量不得超過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馬桶沖水器容量最高不得超過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小便池每小時出水量不超過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符合歐盟相關水資源法規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120875"/>
                  </a:ext>
                </a:extLst>
              </a:tr>
              <a:tr h="7154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依據歐盟清單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uropean List of Waste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Decision 2000/532/EC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內之非有毒廢棄物及拆除廢棄物，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    需至少有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70%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再利用、循環重複使用、或廢棄物回填以替代其他材質。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設計及興建技術支持循環生態工法，參考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ISO 20887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或其他標準以設計建築物具可分解性及環境適應性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1673744"/>
                  </a:ext>
                </a:extLst>
              </a:tr>
              <a:tr h="7154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的材質中不得具有石棉，或歐盟管制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Regulation (EC) No 1907/2006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項目中的具高汙染性物質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材質中，每立方公尺中甲醛不得超過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06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毫克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mg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或參考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CEN/TS 16516 and ISO 16000-3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標準，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    每立方公尺中致癌性有機揮發性物質成分不得超過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001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毫克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mg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79521"/>
                  </a:ext>
                </a:extLst>
              </a:tr>
              <a:tr h="9186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需依據歐盟準則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Directive 2011/92/EU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進行環境影響評估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IA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對於非歐盟第三國，須符合相關國際標準之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   環境影響評估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IA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。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新建築物不得建置於可耕作性土地、土壤肥沃區域。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新建築物不得興建於具高生物多樣性價值區域、或參考歐洲紅色清單</a:t>
                      </a:r>
                      <a:r>
                        <a:rPr kumimoji="0" lang="en-US" altLang="zh-TW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uropean Red List or the IUCN Red List)</a:t>
                      </a: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所列瀕臨滅絕動物棲息地。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3414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37841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標題 1">
            <a:extLst>
              <a:ext uri="{FF2B5EF4-FFF2-40B4-BE49-F238E27FC236}">
                <a16:creationId xmlns:a16="http://schemas.microsoft.com/office/drawing/2014/main" id="{A3DD3332-8722-4C23-87BE-BBA4F6B0039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3851" y="395818"/>
            <a:ext cx="10693400" cy="647700"/>
          </a:xfrm>
        </p:spPr>
        <p:txBody>
          <a:bodyPr>
            <a:normAutofit fontScale="90000"/>
          </a:bodyPr>
          <a:lstStyle/>
          <a:p>
            <a:r>
              <a:rPr lang="zh-TW" altLang="en-US" sz="4000">
                <a:cs typeface="Heiti TC Medium" pitchFamily="2" charset="-128"/>
              </a:rPr>
              <a:t>不動產</a:t>
            </a:r>
            <a:r>
              <a:rPr lang="en-US" altLang="zh-TW" sz="4000">
                <a:cs typeface="Heiti TC Medium" pitchFamily="2" charset="-128"/>
              </a:rPr>
              <a:t>/</a:t>
            </a:r>
            <a:r>
              <a:rPr lang="zh-TW" altLang="en-US" sz="4000">
                <a:cs typeface="Heiti TC Medium" pitchFamily="2" charset="-128"/>
              </a:rPr>
              <a:t>建築業 </a:t>
            </a:r>
            <a:r>
              <a:rPr lang="en-US" altLang="zh-TW" sz="4000">
                <a:cs typeface="Heiti TC Medium" pitchFamily="2" charset="-128"/>
              </a:rPr>
              <a:t>–</a:t>
            </a:r>
            <a:r>
              <a:rPr lang="zh-TW" altLang="en-US" sz="4000">
                <a:cs typeface="Heiti TC Medium" pitchFamily="2" charset="-128"/>
              </a:rPr>
              <a:t> 既有建築物翻新　</a:t>
            </a:r>
            <a:r>
              <a:rPr lang="zh-TW" altLang="en-US" sz="2133">
                <a:cs typeface="Heiti TC Medium" pitchFamily="2" charset="-128"/>
              </a:rPr>
              <a:t>歐盟 </a:t>
            </a:r>
          </a:p>
        </p:txBody>
      </p:sp>
      <p:sp>
        <p:nvSpPr>
          <p:cNvPr id="169986" name="投影片編號版面配置區 3">
            <a:extLst>
              <a:ext uri="{FF2B5EF4-FFF2-40B4-BE49-F238E27FC236}">
                <a16:creationId xmlns:a16="http://schemas.microsoft.com/office/drawing/2014/main" id="{1A942E34-1BB5-4AD6-9DAB-C8BC16B7A3E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2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62EB5091-D5F6-4127-890D-E155413B2826}"/>
              </a:ext>
            </a:extLst>
          </p:cNvPr>
          <p:cNvGraphicFramePr>
            <a:graphicFrameLocks noGrp="1"/>
          </p:cNvGraphicFramePr>
          <p:nvPr/>
        </p:nvGraphicFramePr>
        <p:xfrm>
          <a:off x="152400" y="1121834"/>
          <a:ext cx="11887200" cy="5401733"/>
        </p:xfrm>
        <a:graphic>
          <a:graphicData uri="http://schemas.openxmlformats.org/drawingml/2006/table">
            <a:tbl>
              <a:tblPr/>
              <a:tblGrid>
                <a:gridCol w="1778000">
                  <a:extLst>
                    <a:ext uri="{9D8B030D-6E8A-4147-A177-3AD203B41FA5}">
                      <a16:colId xmlns:a16="http://schemas.microsoft.com/office/drawing/2014/main" val="3809810954"/>
                    </a:ext>
                  </a:extLst>
                </a:gridCol>
                <a:gridCol w="10109200">
                  <a:extLst>
                    <a:ext uri="{9D8B030D-6E8A-4147-A177-3AD203B41FA5}">
                      <a16:colId xmlns:a16="http://schemas.microsoft.com/office/drawing/2014/main" val="1389677424"/>
                    </a:ext>
                  </a:extLst>
                </a:gridCol>
              </a:tblGrid>
              <a:tr h="4953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減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7800" indent="-1778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7800" marR="0" lvl="0" indent="-17780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翻修其基本能源需求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PED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須以零碳建築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zero-energy building (NZEB)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所制定標準能降低至少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30%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以上能耗。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9899364"/>
                  </a:ext>
                </a:extLst>
              </a:tr>
              <a:tr h="5122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未造成重大危害</a:t>
                      </a:r>
                      <a:endParaRPr kumimoji="0" lang="en-US" altLang="zh-TW" sz="11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（右為重大危害定義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endParaRPr kumimoji="0" lang="zh-TW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661579"/>
                  </a:ext>
                </a:extLst>
              </a:tr>
              <a:tr h="4953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營運活動須符合分類標準附錄相關規定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0592265"/>
                  </a:ext>
                </a:extLst>
              </a:tr>
              <a:tr h="12869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飲用水設施需符合歐盟相關廠品標章認證規定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洗手盆水龍頭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廚房水龍頭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淋浴廚房水龍頭每分鐘出水量不得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馬桶沖水器容量最高不得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小便池每小時出水量不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，沖水式小便池出水量不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1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公升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符合歐盟水相關法規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635233"/>
                  </a:ext>
                </a:extLst>
              </a:tr>
              <a:tr h="10498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依據歐盟清單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uropean List of Waste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Decision 2000/532/EC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內之非有毒廢棄物及拆除廢棄物，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    需至少有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70%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再利用、循環重複使用、或廢棄物回填以替代其他材質。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依據歐盟興建及廢棄物管理法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EU Construction and Demolition Waste Management Protocol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對於廢棄物進行分類管理。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設計及興建技術支持循環生態工法，參考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ISO 20887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或其他標準以設計建築物具可分解性及環境適應性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6935911"/>
                  </a:ext>
                </a:extLst>
              </a:tr>
              <a:tr h="10498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的材質中不得具有石棉，或歐盟管制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Regulation (EC) No 1907/2006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項目中的具高汙染性物質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建築物材質中，每立方公尺中甲醛不得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06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毫克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mg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，或參考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CEN/TS 16516 and ISO 16000-3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標準，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     每立方公尺中致癌性有機揮發性物質成分不得超過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.001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毫克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(mg)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 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確保興建過程及建物維修過程中，能有效降低噪音、灰塵及汙染物排放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6643066"/>
                  </a:ext>
                </a:extLst>
              </a:tr>
              <a:tr h="512233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1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-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50005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1136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09" name="標題 1">
            <a:extLst>
              <a:ext uri="{FF2B5EF4-FFF2-40B4-BE49-F238E27FC236}">
                <a16:creationId xmlns:a16="http://schemas.microsoft.com/office/drawing/2014/main" id="{0BD6EA9B-985E-4A99-AE3F-2F0FEE549E3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3566" y="175531"/>
            <a:ext cx="10524913" cy="711200"/>
          </a:xfrm>
        </p:spPr>
        <p:txBody>
          <a:bodyPr>
            <a:noAutofit/>
          </a:bodyPr>
          <a:lstStyle/>
          <a:p>
            <a:r>
              <a:rPr lang="zh-TW" altLang="en-US" sz="3600" dirty="0">
                <a:cs typeface="Heiti TC Medium" pitchFamily="2" charset="-128"/>
              </a:rPr>
              <a:t>歐盟分類標準規則：運輸業</a:t>
            </a:r>
            <a:r>
              <a:rPr lang="en-US" altLang="zh-TW" sz="3600" dirty="0">
                <a:cs typeface="Heiti TC Medium" pitchFamily="2" charset="-128"/>
              </a:rPr>
              <a:t>-</a:t>
            </a:r>
            <a:r>
              <a:rPr lang="zh-TW" altLang="en-US" sz="3600" dirty="0">
                <a:cs typeface="Heiti TC Medium" pitchFamily="2" charset="-128"/>
              </a:rPr>
              <a:t>客運與商用車輛氣候變遷減緩標準 </a:t>
            </a:r>
            <a:r>
              <a:rPr lang="en-US" altLang="zh-TW" sz="3600" dirty="0">
                <a:cs typeface="Heiti TC Medium" pitchFamily="2" charset="-128"/>
              </a:rPr>
              <a:t>1/2</a:t>
            </a:r>
            <a:endParaRPr lang="zh-TW" altLang="en-US" sz="3600" dirty="0">
              <a:cs typeface="Heiti TC Medium" pitchFamily="2" charset="-128"/>
            </a:endParaRPr>
          </a:p>
        </p:txBody>
      </p:sp>
      <p:sp>
        <p:nvSpPr>
          <p:cNvPr id="171010" name="投影片編號版面配置區 3">
            <a:extLst>
              <a:ext uri="{FF2B5EF4-FFF2-40B4-BE49-F238E27FC236}">
                <a16:creationId xmlns:a16="http://schemas.microsoft.com/office/drawing/2014/main" id="{332CDF1B-F34A-44BA-9729-5C45E831BD7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0E71B67B-A9FE-4289-A4EE-EBFE1E37428E}"/>
              </a:ext>
            </a:extLst>
          </p:cNvPr>
          <p:cNvGraphicFramePr>
            <a:graphicFrameLocks noGrp="1"/>
          </p:cNvGraphicFramePr>
          <p:nvPr/>
        </p:nvGraphicFramePr>
        <p:xfrm>
          <a:off x="173567" y="1058334"/>
          <a:ext cx="11844867" cy="5350935"/>
        </p:xfrm>
        <a:graphic>
          <a:graphicData uri="http://schemas.openxmlformats.org/drawingml/2006/table">
            <a:tbl>
              <a:tblPr/>
              <a:tblGrid>
                <a:gridCol w="1771651">
                  <a:extLst>
                    <a:ext uri="{9D8B030D-6E8A-4147-A177-3AD203B41FA5}">
                      <a16:colId xmlns:a16="http://schemas.microsoft.com/office/drawing/2014/main" val="2751535819"/>
                    </a:ext>
                  </a:extLst>
                </a:gridCol>
                <a:gridCol w="10073216">
                  <a:extLst>
                    <a:ext uri="{9D8B030D-6E8A-4147-A177-3AD203B41FA5}">
                      <a16:colId xmlns:a16="http://schemas.microsoft.com/office/drawing/2014/main" val="3966232810"/>
                    </a:ext>
                  </a:extLst>
                </a:gridCol>
              </a:tblGrid>
              <a:tr h="73871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減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7800" indent="-1778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零排放車輛（包括氫、燃料電池、電動），符合此標準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排氣管排放量最大為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50 g CO2 / km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之車輛於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25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年後不得使用</a:t>
                      </a:r>
                    </a:p>
                    <a:p>
                      <a:pPr marL="177800" marR="0" lvl="0" indent="-17780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從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26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年開始，只有排放量為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0g CO2 / km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的車輛方符合標準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6844761"/>
                  </a:ext>
                </a:extLst>
              </a:tr>
              <a:tr h="2698751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需對其它環境目標未造成重大危害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zh-TW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2857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除了對於氣候變遷減緩此環境目標需符合上述標準，以確認其對目標有實質貢獻外，尚須對以下另外五項環境目標未造成重大危害方符合分類標準規則：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投資客運與商用車輛時，應考慮的對其它五項環境目標未造成重大危害，考慮之關鍵環境因素如下：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內燃機廢氣直接排放到空氣中：氮氧化物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NOx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、總碳氫化合物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THC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、非甲烷碳氫化合物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NMHC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、一氧化碳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CO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、顆粒物（</a:t>
                      </a:r>
                      <a:r>
                        <a:rPr kumimoji="0" lang="en-US" altLang="zh-TW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PM</a:t>
                      </a: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和顆粒數，以及輪胎磨損和煞車引起的摩擦和噪音排放汙染。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燃料和能源載體生產時，間接排放廢氣到空中，對環境造成進一步的傷害（這是汽車製造商和營運商無法控制的）</a:t>
                      </a:r>
                    </a:p>
                    <a:p>
                      <a:pPr marL="285750" marR="0" lvl="0" indent="-2857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在車輛或機車車輛的維護和報廢時產生的廢棄物（危險廢棄物和一般廢棄物）</a:t>
                      </a:r>
                      <a:endParaRPr kumimoji="0" lang="zh-TW" alt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1226908"/>
                  </a:ext>
                </a:extLst>
              </a:tr>
              <a:tr h="13927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氣候變遷調適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降低重大實際氣候風險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考慮目前天氣多變性和未來的氣候變遷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基於對可用氣候資料的可靠分析、與對各種未來情境的預測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與經濟活動預期的生命週期一致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支援系統調適</a:t>
                      </a:r>
                      <a:endParaRPr kumimoji="0" lang="en-US" altLang="zh-TW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活動不會導致對其他的氣候風險增加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0516254"/>
                  </a:ext>
                </a:extLst>
              </a:tr>
              <a:tr h="520700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水及海洋資源的永續性及保育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不會直接造成重大危害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8965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93394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3" name="投影片編號版面配置區 3">
            <a:extLst>
              <a:ext uri="{FF2B5EF4-FFF2-40B4-BE49-F238E27FC236}">
                <a16:creationId xmlns:a16="http://schemas.microsoft.com/office/drawing/2014/main" id="{2BD844C5-6DC7-41C5-B133-D75A152B098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11760201" y="6356351"/>
            <a:ext cx="2275417" cy="364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zh-TW"/>
            </a:defPPr>
            <a:lvl1pPr algn="l" defTabSz="609585" rtl="0" eaLnBrk="1" fontAlgn="auto" hangingPunct="1">
              <a:spcBef>
                <a:spcPts val="0"/>
              </a:spcBef>
              <a:spcAft>
                <a:spcPts val="0"/>
              </a:spcAft>
              <a:defRPr sz="1333" b="1" kern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2pPr>
            <a:lvl3pPr marL="1219170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3pPr>
            <a:lvl4pPr marL="1828754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4pPr>
            <a:lvl5pPr marL="2438339" algn="l" defTabSz="609585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5pPr>
            <a:lvl6pPr marL="3047924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6pPr>
            <a:lvl7pPr marL="3657509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7pPr>
            <a:lvl8pPr marL="4267093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8pPr>
            <a:lvl9pPr marL="4876678" algn="l" defTabSz="121917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14B095-7AD3-43AD-B7B8-7904E178C075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新細明體" panose="02020500000000000000" pitchFamily="18" charset="-120"/>
                <a:sym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zh-TW" altLang="en-US" sz="1600">
              <a:solidFill>
                <a:srgbClr val="7F7F7F"/>
              </a:solidFill>
              <a:ea typeface="新細明體" panose="02020500000000000000" pitchFamily="18" charset="-120"/>
              <a:sym typeface="Arial"/>
            </a:endParaRPr>
          </a:p>
        </p:txBody>
      </p:sp>
      <p:graphicFrame>
        <p:nvGraphicFramePr>
          <p:cNvPr id="3" name="表格 5">
            <a:extLst>
              <a:ext uri="{FF2B5EF4-FFF2-40B4-BE49-F238E27FC236}">
                <a16:creationId xmlns:a16="http://schemas.microsoft.com/office/drawing/2014/main" id="{60E8A48D-FDBC-491F-8591-E5C4A609464C}"/>
              </a:ext>
            </a:extLst>
          </p:cNvPr>
          <p:cNvGraphicFramePr>
            <a:graphicFrameLocks noGrp="1"/>
          </p:cNvGraphicFramePr>
          <p:nvPr/>
        </p:nvGraphicFramePr>
        <p:xfrm>
          <a:off x="366185" y="2207685"/>
          <a:ext cx="11459633" cy="3350684"/>
        </p:xfrm>
        <a:graphic>
          <a:graphicData uri="http://schemas.openxmlformats.org/drawingml/2006/table">
            <a:tbl>
              <a:tblPr/>
              <a:tblGrid>
                <a:gridCol w="1714500">
                  <a:extLst>
                    <a:ext uri="{9D8B030D-6E8A-4147-A177-3AD203B41FA5}">
                      <a16:colId xmlns:a16="http://schemas.microsoft.com/office/drawing/2014/main" val="462078549"/>
                    </a:ext>
                  </a:extLst>
                </a:gridCol>
                <a:gridCol w="9745133">
                  <a:extLst>
                    <a:ext uri="{9D8B030D-6E8A-4147-A177-3AD203B41FA5}">
                      <a16:colId xmlns:a16="http://schemas.microsoft.com/office/drawing/2014/main" val="778400417"/>
                    </a:ext>
                  </a:extLst>
                </a:gridCol>
              </a:tblGrid>
              <a:tr h="222461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污染防治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車輛必須符合歐洲議會和理事會於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19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年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月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日修訂的第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09/33 / EC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號指令的歐盟（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EU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19/1161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指令附件中表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中清潔輕型車輛的排放標準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倘適用法規的情況下，輪胎必須符合（修訂的）輪胎標章法規。該法規包括噪音標章，但不包括輪胎磨損標準。惟，該法規修訂建議有提出要研發一種測試方法，然目前尚無適合測量輪胎磨損的方法。因此，委員會應授權開發輪胎磨損測量方法，同時充分考慮所有國際最新制訂、提議的標準或規定，以期盡快建立合適的測量方法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輪胎必須符合法規（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EC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第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661/2009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號關於汽車安全型式認證要求的噪音要求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關於機動車聲級的規定，車輛必須符合歐盟機動車輛噪音，及替換型消音系統（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EU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）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540/2014357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號法規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微軟正黑體" panose="020B0604030504040204" pitchFamily="34" charset="-120"/>
                      </a:endParaRP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0652213"/>
                  </a:ext>
                </a:extLst>
              </a:tr>
              <a:tr h="1126067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生物多樣性及生態系統的保護與復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不會直接造成重大危害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2188786"/>
                  </a:ext>
                </a:extLst>
              </a:tr>
            </a:tbl>
          </a:graphicData>
        </a:graphic>
      </p:graphicFrame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2EBA9D91-72D6-49F8-AE22-05A8AA4FCD08}"/>
              </a:ext>
            </a:extLst>
          </p:cNvPr>
          <p:cNvGraphicFramePr>
            <a:graphicFrameLocks noGrp="1"/>
          </p:cNvGraphicFramePr>
          <p:nvPr/>
        </p:nvGraphicFramePr>
        <p:xfrm>
          <a:off x="366185" y="1485900"/>
          <a:ext cx="11459633" cy="721784"/>
        </p:xfrm>
        <a:graphic>
          <a:graphicData uri="http://schemas.openxmlformats.org/drawingml/2006/table">
            <a:tbl>
              <a:tblPr/>
              <a:tblGrid>
                <a:gridCol w="1714500">
                  <a:extLst>
                    <a:ext uri="{9D8B030D-6E8A-4147-A177-3AD203B41FA5}">
                      <a16:colId xmlns:a16="http://schemas.microsoft.com/office/drawing/2014/main" val="2217216601"/>
                    </a:ext>
                  </a:extLst>
                </a:gridCol>
                <a:gridCol w="9745133">
                  <a:extLst>
                    <a:ext uri="{9D8B030D-6E8A-4147-A177-3AD203B41FA5}">
                      <a16:colId xmlns:a16="http://schemas.microsoft.com/office/drawing/2014/main" val="2577666179"/>
                    </a:ext>
                  </a:extLst>
                </a:gridCol>
              </a:tblGrid>
              <a:tr h="721784"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轉型至循環經濟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171450" indent="-1714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2pPr>
                      <a:lvl3pPr marL="11430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3pPr>
                      <a:lvl4pPr marL="16002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4pPr>
                      <a:lvl5pPr marL="2057400" indent="-228600">
                        <a:lnSpc>
                          <a:spcPct val="150000"/>
                        </a:lnSpc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5pPr>
                      <a:lvl6pPr marL="25146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6pPr>
                      <a:lvl7pPr marL="29718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7pPr>
                      <a:lvl8pPr marL="34290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8pPr>
                      <a:lvl9pPr marL="3886200" indent="-228600" defTabSz="457200" fontAlgn="base">
                        <a:lnSpc>
                          <a:spcPct val="15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9pPr>
                    </a:lstStyle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遵守歐盟和各國有關危險廢棄物產生、管理和處理的法規</a:t>
                      </a:r>
                    </a:p>
                    <a:p>
                      <a:pPr marL="171450" marR="0" lvl="0" indent="-171450" algn="l" defTabSz="4572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n"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遵守歐盟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2000/53/EC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微軟正黑體" panose="020B0604030504040204" pitchFamily="34" charset="-120"/>
                        </a:rPr>
                        <a:t>指令（車輛廢棄指令）</a:t>
                      </a:r>
                    </a:p>
                  </a:txBody>
                  <a:tcPr marL="121920" marR="121920" marT="60960" marB="60960" anchor="ctr" horzOverflow="overflow">
                    <a:lnL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4752758"/>
                  </a:ext>
                </a:extLst>
              </a:tr>
            </a:tbl>
          </a:graphicData>
        </a:graphic>
      </p:graphicFrame>
      <p:sp>
        <p:nvSpPr>
          <p:cNvPr id="172053" name="標題 1">
            <a:extLst>
              <a:ext uri="{FF2B5EF4-FFF2-40B4-BE49-F238E27FC236}">
                <a16:creationId xmlns:a16="http://schemas.microsoft.com/office/drawing/2014/main" id="{79E0D557-7008-40F7-9FDD-F4E2B751302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7435" y="146473"/>
            <a:ext cx="9324493" cy="711200"/>
          </a:xfrm>
        </p:spPr>
        <p:txBody>
          <a:bodyPr>
            <a:normAutofit fontScale="90000"/>
          </a:bodyPr>
          <a:lstStyle/>
          <a:p>
            <a:r>
              <a:rPr lang="zh-TW" altLang="en-US" dirty="0">
                <a:cs typeface="Heiti TC Medium" pitchFamily="2" charset="-128"/>
              </a:rPr>
              <a:t>歐盟分類標準規則：運輸業</a:t>
            </a:r>
            <a:r>
              <a:rPr lang="en-US" altLang="zh-TW" dirty="0">
                <a:cs typeface="Heiti TC Medium" pitchFamily="2" charset="-128"/>
              </a:rPr>
              <a:t>-</a:t>
            </a:r>
            <a:r>
              <a:rPr lang="zh-TW" altLang="en-US" dirty="0">
                <a:cs typeface="Heiti TC Medium" pitchFamily="2" charset="-128"/>
              </a:rPr>
              <a:t>客運與商用車輛氣候變遷減緩標準 </a:t>
            </a:r>
            <a:r>
              <a:rPr lang="en-US" altLang="zh-TW" dirty="0">
                <a:cs typeface="Heiti TC Medium" pitchFamily="2" charset="-128"/>
              </a:rPr>
              <a:t>2/2</a:t>
            </a:r>
            <a:endParaRPr lang="zh-TW" altLang="en-US" dirty="0">
              <a:cs typeface="Heiti TC Medium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71494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E094F465-DD88-70E1-6FC9-0BAB96AC1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661AE6-32E0-4D9A-8B9E-05894A0EDE4A}" type="slidenum">
              <a:rPr lang="en-US" altLang="zh-TW" smtClean="0"/>
              <a:pPr>
                <a:defRPr/>
              </a:pPr>
              <a:t>35</a:t>
            </a:fld>
            <a:endParaRPr lang="en-US" altLang="zh-TW" dirty="0"/>
          </a:p>
        </p:txBody>
      </p:sp>
      <p:sp>
        <p:nvSpPr>
          <p:cNvPr id="7" name="文字版面配置區 6">
            <a:extLst>
              <a:ext uri="{FF2B5EF4-FFF2-40B4-BE49-F238E27FC236}">
                <a16:creationId xmlns:a16="http://schemas.microsoft.com/office/drawing/2014/main" id="{3A1F7B6A-F0F5-D35E-B930-85DF5DF971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r>
              <a:rPr kumimoji="1" lang="zh-TW" altLang="en-US" sz="44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碳中和之道</a:t>
            </a:r>
            <a:endParaRPr kumimoji="1" lang="en-US" altLang="zh-TW" sz="44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2525851"/>
      </p:ext>
    </p:extLst>
  </p:cSld>
  <p:clrMapOvr>
    <a:masterClrMapping/>
  </p:clrMapOvr>
  <p:transition spd="slow">
    <p:cover dir="u"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39" name="群組 7">
            <a:extLst>
              <a:ext uri="{FF2B5EF4-FFF2-40B4-BE49-F238E27FC236}">
                <a16:creationId xmlns:a16="http://schemas.microsoft.com/office/drawing/2014/main" id="{0B744CC7-F394-4D85-AFE2-C600448FF849}"/>
              </a:ext>
            </a:extLst>
          </p:cNvPr>
          <p:cNvGrpSpPr>
            <a:grpSpLocks/>
          </p:cNvGrpSpPr>
          <p:nvPr/>
        </p:nvGrpSpPr>
        <p:grpSpPr bwMode="auto">
          <a:xfrm>
            <a:off x="527052" y="1943101"/>
            <a:ext cx="11093449" cy="4514850"/>
            <a:chOff x="828392" y="1966298"/>
            <a:chExt cx="11095228" cy="4400044"/>
          </a:xfrm>
        </p:grpSpPr>
        <p:grpSp>
          <p:nvGrpSpPr>
            <p:cNvPr id="91141" name="群組 8">
              <a:extLst>
                <a:ext uri="{FF2B5EF4-FFF2-40B4-BE49-F238E27FC236}">
                  <a16:creationId xmlns:a16="http://schemas.microsoft.com/office/drawing/2014/main" id="{0FE20149-4831-4341-BA82-A0F92F947C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8392" y="1966298"/>
              <a:ext cx="11095228" cy="4400044"/>
              <a:chOff x="828392" y="1947681"/>
              <a:chExt cx="11095228" cy="4400044"/>
            </a:xfrm>
          </p:grpSpPr>
          <p:pic>
            <p:nvPicPr>
              <p:cNvPr id="91146" name="Picture 6" descr="Map&#10;&#10;Description automatically generated">
                <a:extLst>
                  <a:ext uri="{FF2B5EF4-FFF2-40B4-BE49-F238E27FC236}">
                    <a16:creationId xmlns:a16="http://schemas.microsoft.com/office/drawing/2014/main" id="{94A7644A-657D-4752-952D-CD85C1843E3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78035" y="1947681"/>
                <a:ext cx="7545585" cy="44000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1147" name="Picture 5" descr="Text&#10;&#10;Description automatically generated">
                <a:extLst>
                  <a:ext uri="{FF2B5EF4-FFF2-40B4-BE49-F238E27FC236}">
                    <a16:creationId xmlns:a16="http://schemas.microsoft.com/office/drawing/2014/main" id="{4A0295FC-7B92-4FA9-BBFD-F8FCEDC91E6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8392" y="2485195"/>
                <a:ext cx="3262745" cy="33250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7" name="文字方塊 16">
                <a:extLst>
                  <a:ext uri="{FF2B5EF4-FFF2-40B4-BE49-F238E27FC236}">
                    <a16:creationId xmlns:a16="http://schemas.microsoft.com/office/drawing/2014/main" id="{DCE77E72-58CA-4C32-A9C9-2B368217F2A5}"/>
                  </a:ext>
                </a:extLst>
              </p:cNvPr>
              <p:cNvSpPr txBox="1"/>
              <p:nvPr/>
            </p:nvSpPr>
            <p:spPr>
              <a:xfrm>
                <a:off x="2115532" y="2486084"/>
                <a:ext cx="2119122" cy="1439762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>
                <a:spAutoFit/>
              </a:bodyPr>
              <a:lstStyle/>
              <a:p>
                <a:pPr algn="just">
                  <a:defRPr/>
                </a:pPr>
                <a:r>
                  <a:rPr lang="zh-TW" altLang="en-US" dirty="0"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涵蓋了全球</a:t>
                </a:r>
                <a:r>
                  <a:rPr lang="en-US" altLang="zh-TW" dirty="0"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32%</a:t>
                </a:r>
                <a:r>
                  <a:rPr lang="zh-TW" altLang="en-US" dirty="0"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排放量，已聲明將在新的或更新國家自主貢獻中增強氣候野心</a:t>
                </a: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27EFC41B-F93B-49F1-9214-CD72BDFA8634}"/>
                  </a:ext>
                </a:extLst>
              </p:cNvPr>
              <p:cNvSpPr/>
              <p:nvPr/>
            </p:nvSpPr>
            <p:spPr>
              <a:xfrm>
                <a:off x="2187510" y="4427218"/>
                <a:ext cx="1903188" cy="15265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just">
                  <a:defRPr/>
                </a:pPr>
                <a:endParaRPr lang="zh-TW" altLang="en-US" dirty="0">
                  <a:solidFill>
                    <a:prstClr val="black"/>
                  </a:solidFill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endParaRPr>
              </a:p>
            </p:txBody>
          </p:sp>
          <p:sp>
            <p:nvSpPr>
              <p:cNvPr id="19" name="文字方塊 18">
                <a:extLst>
                  <a:ext uri="{FF2B5EF4-FFF2-40B4-BE49-F238E27FC236}">
                    <a16:creationId xmlns:a16="http://schemas.microsoft.com/office/drawing/2014/main" id="{48E45924-D812-4F23-AE73-01B3813C46D2}"/>
                  </a:ext>
                </a:extLst>
              </p:cNvPr>
              <p:cNvSpPr txBox="1"/>
              <p:nvPr/>
            </p:nvSpPr>
            <p:spPr>
              <a:xfrm>
                <a:off x="2115532" y="4691262"/>
                <a:ext cx="2119122" cy="1169806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>
                <a:spAutoFit/>
              </a:bodyPr>
              <a:lstStyle/>
              <a:p>
                <a:pPr algn="just">
                  <a:defRPr/>
                </a:pPr>
                <a:r>
                  <a:rPr lang="zh-TW" altLang="en-US" dirty="0">
                    <a:solidFill>
                      <a:prstClr val="black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涵蓋了全球</a:t>
                </a:r>
                <a:r>
                  <a:rPr lang="en-US" altLang="zh-TW" dirty="0">
                    <a:solidFill>
                      <a:prstClr val="black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47.3%</a:t>
                </a:r>
                <a:r>
                  <a:rPr lang="zh-TW" altLang="en-US" dirty="0">
                    <a:solidFill>
                      <a:prstClr val="black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排放量，已提交新的或更新的國家自種貢獻</a:t>
                </a:r>
              </a:p>
            </p:txBody>
          </p:sp>
        </p:grpSp>
        <p:grpSp>
          <p:nvGrpSpPr>
            <p:cNvPr id="91142" name="群組 10">
              <a:extLst>
                <a:ext uri="{FF2B5EF4-FFF2-40B4-BE49-F238E27FC236}">
                  <a16:creationId xmlns:a16="http://schemas.microsoft.com/office/drawing/2014/main" id="{604D6E09-D5B4-47BD-A2B2-5FEB659F8B0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8392" y="3117533"/>
              <a:ext cx="2904212" cy="2644569"/>
              <a:chOff x="828392" y="3117533"/>
              <a:chExt cx="2904212" cy="2644569"/>
            </a:xfrm>
          </p:grpSpPr>
          <p:sp>
            <p:nvSpPr>
              <p:cNvPr id="91143" name="矩形 11">
                <a:extLst>
                  <a:ext uri="{FF2B5EF4-FFF2-40B4-BE49-F238E27FC236}">
                    <a16:creationId xmlns:a16="http://schemas.microsoft.com/office/drawing/2014/main" id="{C693F224-B94A-4DA9-B54E-86B2535616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4516" y="3117533"/>
                <a:ext cx="389670" cy="3899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9pPr>
              </a:lstStyle>
              <a:p>
                <a:pPr eaLnBrk="1" hangingPunct="1"/>
                <a:r>
                  <a:rPr lang="zh-TW" altLang="en-US" sz="2000" b="1">
                    <a:solidFill>
                      <a:srgbClr val="1E4F74"/>
                    </a:solidFill>
                    <a:cs typeface="Arial" panose="020B0604020202020204" pitchFamily="34" charset="0"/>
                  </a:rPr>
                  <a:t>國</a:t>
                </a:r>
              </a:p>
            </p:txBody>
          </p:sp>
          <p:sp>
            <p:nvSpPr>
              <p:cNvPr id="91144" name="矩形 12">
                <a:extLst>
                  <a:ext uri="{FF2B5EF4-FFF2-40B4-BE49-F238E27FC236}">
                    <a16:creationId xmlns:a16="http://schemas.microsoft.com/office/drawing/2014/main" id="{63BB9FA4-B400-426F-8E2E-F8B57CEE6D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54516" y="5127915"/>
                <a:ext cx="389670" cy="3899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9pPr>
              </a:lstStyle>
              <a:p>
                <a:pPr eaLnBrk="1" hangingPunct="1"/>
                <a:r>
                  <a:rPr lang="zh-TW" altLang="en-US" sz="20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國</a:t>
                </a:r>
              </a:p>
            </p:txBody>
          </p:sp>
          <p:sp>
            <p:nvSpPr>
              <p:cNvPr id="91145" name="矩形 13">
                <a:extLst>
                  <a:ext uri="{FF2B5EF4-FFF2-40B4-BE49-F238E27FC236}">
                    <a16:creationId xmlns:a16="http://schemas.microsoft.com/office/drawing/2014/main" id="{779B5371-F8DB-466D-B81E-D96BFAA7B4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92" y="5492147"/>
                <a:ext cx="2904212" cy="269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9pPr>
              </a:lstStyle>
              <a:p>
                <a:pPr eaLnBrk="1" hangingPunct="1"/>
                <a:r>
                  <a:rPr lang="en-US" altLang="zh-TW" sz="12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(</a:t>
                </a:r>
                <a:r>
                  <a:rPr lang="zh-TW" altLang="en-US" sz="12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包含歐盟</a:t>
                </a:r>
                <a:r>
                  <a:rPr lang="en-US" altLang="zh-TW" sz="12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27</a:t>
                </a:r>
                <a:r>
                  <a:rPr lang="zh-TW" altLang="en-US" sz="12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國</a:t>
                </a:r>
                <a:r>
                  <a:rPr lang="en-US" altLang="zh-TW" sz="1200" b="1">
                    <a:solidFill>
                      <a:srgbClr val="FF6C2F"/>
                    </a:solidFill>
                    <a:cs typeface="Arial" panose="020B0604020202020204" pitchFamily="34" charset="0"/>
                  </a:rPr>
                  <a:t>)</a:t>
                </a:r>
                <a:endParaRPr lang="zh-TW" altLang="en-US" sz="1200" b="1">
                  <a:solidFill>
                    <a:srgbClr val="FF6C2F"/>
                  </a:solidFill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0254E2B-1393-4380-A4E6-FDC5A1268251}"/>
              </a:ext>
            </a:extLst>
          </p:cNvPr>
          <p:cNvSpPr txBox="1">
            <a:spLocks/>
          </p:cNvSpPr>
          <p:nvPr/>
        </p:nvSpPr>
        <p:spPr>
          <a:xfrm>
            <a:off x="8301567" y="5990167"/>
            <a:ext cx="6106584" cy="383117"/>
          </a:xfrm>
          <a:prstGeom prst="rect">
            <a:avLst/>
          </a:prstGeom>
        </p:spPr>
        <p:txBody>
          <a:bodyPr lIns="91440" tIns="45720" rIns="91440" bIns="45720" anchor="ctr"/>
          <a:lstStyle>
            <a:defPPr>
              <a:defRPr lang="zh-TW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zh-TW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資料來源：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Climate Watch 2020 NDC Tracker</a:t>
            </a:r>
          </a:p>
          <a:p>
            <a:pPr>
              <a:defRPr/>
            </a:pPr>
            <a:r>
              <a:rPr lang="zh-TW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最後更新：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July 23, 2021 </a:t>
            </a:r>
          </a:p>
        </p:txBody>
      </p:sp>
      <p:sp>
        <p:nvSpPr>
          <p:cNvPr id="22" name="矩形 21"/>
          <p:cNvSpPr/>
          <p:nvPr/>
        </p:nvSpPr>
        <p:spPr>
          <a:xfrm>
            <a:off x="1550315" y="519895"/>
            <a:ext cx="10411700" cy="659411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zh-TW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160 </a:t>
            </a:r>
            <a:r>
              <a:rPr lang="zh-TW" altLang="en-US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個國家展現野心、</a:t>
            </a:r>
            <a:r>
              <a:rPr lang="en-US" altLang="zh-TW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136 </a:t>
            </a:r>
            <a:r>
              <a:rPr lang="zh-TW" altLang="en-US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國承諾淨零碳排、</a:t>
            </a:r>
            <a:r>
              <a:rPr lang="en-US" altLang="zh-TW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95</a:t>
            </a:r>
            <a:r>
              <a:rPr lang="zh-TW" altLang="en-US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國更新 </a:t>
            </a:r>
            <a:r>
              <a:rPr lang="en" altLang="zh-TW" sz="2800" b="1" kern="0" dirty="0">
                <a:solidFill>
                  <a:srgbClr val="34B2E4">
                    <a:lumMod val="50000"/>
                  </a:srgbClr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NDC </a:t>
            </a:r>
            <a:endParaRPr lang="zh-CN" altLang="en-US" sz="2800" b="1" kern="0" dirty="0">
              <a:solidFill>
                <a:srgbClr val="34B2E4">
                  <a:lumMod val="50000"/>
                </a:srgbClr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+mn-lt"/>
            </a:endParaRPr>
          </a:p>
        </p:txBody>
      </p:sp>
      <p:sp>
        <p:nvSpPr>
          <p:cNvPr id="23" name="圆角矩形 51"/>
          <p:cNvSpPr/>
          <p:nvPr/>
        </p:nvSpPr>
        <p:spPr>
          <a:xfrm rot="2700000">
            <a:off x="708419" y="695645"/>
            <a:ext cx="590584" cy="590584"/>
          </a:xfrm>
          <a:prstGeom prst="roundRect">
            <a:avLst/>
          </a:prstGeom>
          <a:solidFill>
            <a:srgbClr val="21959D"/>
          </a:solidFill>
          <a:ln>
            <a:noFill/>
          </a:ln>
          <a:effectLst>
            <a:outerShdw blurRad="127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微軟正黑體" panose="020B0604030504040204" pitchFamily="34" charset="-120"/>
              <a:ea typeface="微軟正黑體" panose="020B0604030504040204" pitchFamily="34" charset="-120"/>
              <a:cs typeface="+mn-ea"/>
              <a:sym typeface="+mn-lt"/>
            </a:endParaRPr>
          </a:p>
        </p:txBody>
      </p:sp>
      <p:sp>
        <p:nvSpPr>
          <p:cNvPr id="24" name="圆角矩形 52"/>
          <p:cNvSpPr/>
          <p:nvPr/>
        </p:nvSpPr>
        <p:spPr>
          <a:xfrm rot="2700000">
            <a:off x="579421" y="695645"/>
            <a:ext cx="590584" cy="590584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1905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微軟正黑體" panose="020B0604030504040204" pitchFamily="34" charset="-120"/>
              <a:ea typeface="微軟正黑體" panose="020B0604030504040204" pitchFamily="34" charset="-120"/>
              <a:cs typeface="+mn-ea"/>
              <a:sym typeface="+mn-lt"/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>
          <a:xfrm>
            <a:off x="11855894" y="6530212"/>
            <a:ext cx="2275417" cy="364067"/>
          </a:xfrm>
        </p:spPr>
        <p:txBody>
          <a:bodyPr/>
          <a:lstStyle/>
          <a:p>
            <a:pPr>
              <a:defRPr/>
            </a:pPr>
            <a:fld id="{E514B095-7AD3-43AD-B7B8-7904E178C075}" type="slidenum">
              <a:rPr lang="zh-TW" altLang="en-US" smtClean="0"/>
              <a:pPr>
                <a:defRPr/>
              </a:pPr>
              <a:t>36</a:t>
            </a:fld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9363722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標題 2">
            <a:extLst>
              <a:ext uri="{FF2B5EF4-FFF2-40B4-BE49-F238E27FC236}">
                <a16:creationId xmlns:a16="http://schemas.microsoft.com/office/drawing/2014/main" id="{F4CDE560-7FC0-499B-BFB0-ED08DA548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26280"/>
            <a:ext cx="7410681" cy="173736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TW" sz="4800" dirty="0">
                <a:solidFill>
                  <a:schemeClr val="accent3">
                    <a:lumMod val="50000"/>
                  </a:schemeClr>
                </a:solidFill>
                <a:ea typeface="微軟正黑體" panose="020B0604030504040204" pitchFamily="34" charset="-120"/>
              </a:rPr>
              <a:t> </a:t>
            </a:r>
            <a:r>
              <a:rPr lang="zh-TW" altLang="en-US" sz="4800" dirty="0">
                <a:solidFill>
                  <a:schemeClr val="accent3">
                    <a:lumMod val="50000"/>
                  </a:schemeClr>
                </a:solidFill>
                <a:ea typeface="微軟正黑體" panose="020B0604030504040204" pitchFamily="34" charset="-120"/>
              </a:rPr>
              <a:t>歐洲綠色新政 </a:t>
            </a:r>
            <a:r>
              <a:rPr lang="en-US" altLang="zh-TW" sz="4800" dirty="0">
                <a:solidFill>
                  <a:schemeClr val="accent3">
                    <a:lumMod val="50000"/>
                  </a:schemeClr>
                </a:solidFill>
                <a:ea typeface="微軟正黑體" panose="020B0604030504040204" pitchFamily="34" charset="-120"/>
              </a:rPr>
              <a:t>Fit for 55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37AA4DED-15AC-4179-A9E2-BC0F87476643}"/>
              </a:ext>
            </a:extLst>
          </p:cNvPr>
          <p:cNvSpPr/>
          <p:nvPr/>
        </p:nvSpPr>
        <p:spPr>
          <a:xfrm>
            <a:off x="609600" y="1206498"/>
            <a:ext cx="5676637" cy="346395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298465" indent="-138649">
              <a:lnSpc>
                <a:spcPct val="90000"/>
              </a:lnSpc>
              <a:spcAft>
                <a:spcPts val="648"/>
              </a:spcAft>
              <a:buSzPct val="90000"/>
              <a:buFont typeface="Arial" panose="020B0604020202020204" pitchFamily="34" charset="0"/>
              <a:buChar char="•"/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歐盟「綠色新政」為達成「</a:t>
            </a:r>
            <a:r>
              <a:rPr lang="en-US" altLang="zh-TW" dirty="0">
                <a:solidFill>
                  <a:schemeClr val="accent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50</a:t>
            </a:r>
            <a:r>
              <a:rPr lang="zh-CN" altLang="en-US" dirty="0">
                <a:solidFill>
                  <a:schemeClr val="accent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零排放、零廢棄、零污染</a:t>
            </a:r>
            <a:r>
              <a:rPr lang="zh-TW" altLang="en-US" dirty="0">
                <a:solidFill>
                  <a:schemeClr val="accent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之長程目標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「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2030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減碳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55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％」之中程目標鋪路，要求企業／個人在行為上負更明確環境責任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98465" indent="-138649">
              <a:lnSpc>
                <a:spcPct val="90000"/>
              </a:lnSpc>
              <a:spcAft>
                <a:spcPts val="648"/>
              </a:spcAft>
              <a:buSzPct val="90000"/>
              <a:buFont typeface="Arial" panose="020B0604020202020204" pitchFamily="34" charset="0"/>
              <a:buChar char="•"/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物質流：針對氣候保護、綠能、循環經濟、綠建築、交通運輸、永續食品、生態與生物多樣性以及綠色化學，鏈結歐盟現有法規命令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98465" indent="-138649">
              <a:lnSpc>
                <a:spcPct val="90000"/>
              </a:lnSpc>
              <a:spcAft>
                <a:spcPts val="648"/>
              </a:spcAft>
              <a:buSzPct val="90000"/>
              <a:buFont typeface="Arial" panose="020B0604020202020204" pitchFamily="34" charset="0"/>
              <a:buChar char="•"/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金流：永續投資、產業政策與公正的轉型機制將是支撐歐盟綠色轉型關鍵，加強歐盟碳排放交易體系（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European Union Emission Trading Scheme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EU ETS</a:t>
            </a: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），提高碳排放價格、擴大碳排放交易範圍、補貼低碳出口產品、訂定嚴格進口歐盟市場的環境標準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" name="圖片 1">
            <a:extLst>
              <a:ext uri="{FF2B5EF4-FFF2-40B4-BE49-F238E27FC236}">
                <a16:creationId xmlns:a16="http://schemas.microsoft.com/office/drawing/2014/main" id="{D44F54CB-CA4C-8648-9146-9D834F279D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006" r="7321" b="-1"/>
          <a:stretch/>
        </p:blipFill>
        <p:spPr>
          <a:xfrm>
            <a:off x="6492115" y="9"/>
            <a:ext cx="5699887" cy="4059235"/>
          </a:xfrm>
          <a:custGeom>
            <a:avLst/>
            <a:gdLst/>
            <a:ahLst/>
            <a:cxnLst/>
            <a:rect l="l" t="t" r="r" b="b"/>
            <a:pathLst>
              <a:path w="5699887" h="4059244">
                <a:moveTo>
                  <a:pt x="0" y="0"/>
                </a:moveTo>
                <a:lnTo>
                  <a:pt x="5699887" y="0"/>
                </a:lnTo>
                <a:lnTo>
                  <a:pt x="5699887" y="3944096"/>
                </a:lnTo>
                <a:lnTo>
                  <a:pt x="5525775" y="3980429"/>
                </a:lnTo>
                <a:cubicBezTo>
                  <a:pt x="5246154" y="4032190"/>
                  <a:pt x="4957865" y="4059244"/>
                  <a:pt x="4663256" y="4059244"/>
                </a:cubicBezTo>
                <a:cubicBezTo>
                  <a:pt x="2306390" y="4059244"/>
                  <a:pt x="353936" y="2327747"/>
                  <a:pt x="8566" y="67422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9855039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rcRect l="40603" r="40603"/>
          <a:stretch>
            <a:fillRect/>
          </a:stretch>
        </p:blipFill>
        <p:spPr>
          <a:xfrm>
            <a:off x="0" y="0"/>
            <a:ext cx="1933259" cy="6858000"/>
          </a:xfrm>
          <a:prstGeom prst="rect">
            <a:avLst/>
          </a:prstGeom>
        </p:spPr>
      </p:pic>
      <p:sp>
        <p:nvSpPr>
          <p:cNvPr id="3" name="TextBox 3"/>
          <p:cNvSpPr txBox="1"/>
          <p:nvPr/>
        </p:nvSpPr>
        <p:spPr>
          <a:xfrm>
            <a:off x="3559936" y="570325"/>
            <a:ext cx="8378064" cy="11197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4480"/>
              </a:lnSpc>
            </a:pPr>
            <a:r>
              <a:rPr lang="zh-TW" altLang="en-US" sz="3734" b="1" dirty="0">
                <a:solidFill>
                  <a:srgbClr val="35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際綠色新政下，環境管制勢不可為，經濟三大關鍵政策</a:t>
            </a:r>
          </a:p>
        </p:txBody>
      </p:sp>
      <p:grpSp>
        <p:nvGrpSpPr>
          <p:cNvPr id="9" name="群組 8"/>
          <p:cNvGrpSpPr/>
          <p:nvPr/>
        </p:nvGrpSpPr>
        <p:grpSpPr>
          <a:xfrm>
            <a:off x="3763137" y="5191302"/>
            <a:ext cx="7070919" cy="1131899"/>
            <a:chOff x="4250219" y="4878306"/>
            <a:chExt cx="10606379" cy="1697849"/>
          </a:xfrm>
        </p:grpSpPr>
        <p:sp>
          <p:nvSpPr>
            <p:cNvPr id="10" name="矩形 9"/>
            <p:cNvSpPr/>
            <p:nvPr/>
          </p:nvSpPr>
          <p:spPr>
            <a:xfrm>
              <a:off x="5689717" y="4878306"/>
              <a:ext cx="6892286" cy="8677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TW" altLang="en-US" sz="2400" b="1" dirty="0">
                  <a:solidFill>
                    <a:srgbClr val="2070A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rPr>
                <a:t>碳邊境調整機制</a:t>
              </a:r>
              <a:endParaRPr lang="zh-CN" altLang="en-US" sz="2400" b="1" dirty="0">
                <a:solidFill>
                  <a:srgbClr val="2070A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endParaRPr>
            </a:p>
          </p:txBody>
        </p:sp>
        <p:grpSp>
          <p:nvGrpSpPr>
            <p:cNvPr id="11" name="群組 10"/>
            <p:cNvGrpSpPr/>
            <p:nvPr/>
          </p:nvGrpSpPr>
          <p:grpSpPr>
            <a:xfrm>
              <a:off x="4250219" y="5192786"/>
              <a:ext cx="1329143" cy="1295472"/>
              <a:chOff x="1784323" y="2058383"/>
              <a:chExt cx="886094" cy="863648"/>
            </a:xfrm>
          </p:grpSpPr>
          <p:sp>
            <p:nvSpPr>
              <p:cNvPr id="13" name="矩形 12"/>
              <p:cNvSpPr>
                <a:spLocks noChangeAspect="1"/>
              </p:cNvSpPr>
              <p:nvPr/>
            </p:nvSpPr>
            <p:spPr>
              <a:xfrm>
                <a:off x="1784323" y="2058383"/>
                <a:ext cx="886094" cy="863648"/>
              </a:xfrm>
              <a:prstGeom prst="rect">
                <a:avLst/>
              </a:prstGeom>
              <a:solidFill>
                <a:srgbClr val="2070A1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0" dist="254000" dir="8100000" algn="tr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4000" kern="0">
                  <a:solidFill>
                    <a:srgbClr val="E7E6E6">
                      <a:lumMod val="25000"/>
                    </a:srgb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endParaRPr>
              </a:p>
            </p:txBody>
          </p:sp>
          <p:pic>
            <p:nvPicPr>
              <p:cNvPr id="14" name="圖片 1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6864" y="2223256"/>
                <a:ext cx="504000" cy="504000"/>
              </a:xfrm>
              <a:prstGeom prst="rect">
                <a:avLst/>
              </a:prstGeom>
            </p:spPr>
          </p:pic>
        </p:grpSp>
        <p:sp>
          <p:nvSpPr>
            <p:cNvPr id="12" name="矩形 11"/>
            <p:cNvSpPr/>
            <p:nvPr/>
          </p:nvSpPr>
          <p:spPr>
            <a:xfrm>
              <a:off x="5689715" y="5769876"/>
              <a:ext cx="9166883" cy="8062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ts val="1800"/>
                </a:lnSpc>
              </a:pPr>
              <a:r>
                <a:rPr lang="zh-TW" alt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歐盟為避免碳洩露風險，歐盟將碳排放交易市場機制擴大至進口品，意即出口至歐盟的產品亦須購買排放配額。</a:t>
              </a:r>
              <a:endParaRPr lang="zh-CN" altLang="en-US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endParaRPr>
            </a:p>
          </p:txBody>
        </p:sp>
      </p:grpSp>
      <p:grpSp>
        <p:nvGrpSpPr>
          <p:cNvPr id="15" name="群組 14"/>
          <p:cNvGrpSpPr/>
          <p:nvPr/>
        </p:nvGrpSpPr>
        <p:grpSpPr>
          <a:xfrm>
            <a:off x="3763136" y="2126336"/>
            <a:ext cx="7109421" cy="1329528"/>
            <a:chOff x="4307969" y="7241837"/>
            <a:chExt cx="10664132" cy="1994292"/>
          </a:xfrm>
        </p:grpSpPr>
        <p:sp>
          <p:nvSpPr>
            <p:cNvPr id="16" name="矩形 15"/>
            <p:cNvSpPr/>
            <p:nvPr/>
          </p:nvSpPr>
          <p:spPr>
            <a:xfrm>
              <a:off x="5747467" y="7241837"/>
              <a:ext cx="6892286" cy="8677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TW" altLang="en-US" sz="2400" b="1" dirty="0">
                  <a:solidFill>
                    <a:srgbClr val="34B2E4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rPr>
                <a:t>碳定價、碳權（碳排放交易市場）</a:t>
              </a:r>
              <a:endParaRPr lang="zh-CN" altLang="en-US" sz="2400" b="1" dirty="0">
                <a:solidFill>
                  <a:srgbClr val="34B2E4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endParaRPr>
            </a:p>
          </p:txBody>
        </p:sp>
        <p:grpSp>
          <p:nvGrpSpPr>
            <p:cNvPr id="17" name="群組 16"/>
            <p:cNvGrpSpPr/>
            <p:nvPr/>
          </p:nvGrpSpPr>
          <p:grpSpPr>
            <a:xfrm>
              <a:off x="4307969" y="7544864"/>
              <a:ext cx="1329143" cy="1295472"/>
              <a:chOff x="1857894" y="3516175"/>
              <a:chExt cx="886094" cy="863648"/>
            </a:xfrm>
          </p:grpSpPr>
          <p:sp>
            <p:nvSpPr>
              <p:cNvPr id="19" name="矩形 18"/>
              <p:cNvSpPr>
                <a:spLocks noChangeAspect="1"/>
              </p:cNvSpPr>
              <p:nvPr/>
            </p:nvSpPr>
            <p:spPr>
              <a:xfrm>
                <a:off x="1857894" y="3516175"/>
                <a:ext cx="886094" cy="863648"/>
              </a:xfrm>
              <a:prstGeom prst="rect">
                <a:avLst/>
              </a:prstGeom>
              <a:solidFill>
                <a:srgbClr val="34B2E4"/>
              </a:solidFill>
              <a:ln w="12700" cap="flat" cmpd="sng" algn="ctr">
                <a:noFill/>
                <a:prstDash val="solid"/>
                <a:miter lim="800000"/>
              </a:ln>
              <a:effectLst>
                <a:outerShdw blurRad="508000" dist="254000" dir="8100000" algn="tr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zh-CN" altLang="en-US" sz="4000" kern="0">
                  <a:solidFill>
                    <a:srgbClr val="E7E6E6">
                      <a:lumMod val="25000"/>
                    </a:srgb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endParaRPr>
              </a:p>
            </p:txBody>
          </p:sp>
          <p:pic>
            <p:nvPicPr>
              <p:cNvPr id="20" name="圖片 19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30941" y="3665180"/>
                <a:ext cx="540000" cy="540000"/>
              </a:xfrm>
              <a:prstGeom prst="rect">
                <a:avLst/>
              </a:prstGeom>
            </p:spPr>
          </p:pic>
        </p:grpSp>
        <p:sp>
          <p:nvSpPr>
            <p:cNvPr id="18" name="矩形 17"/>
            <p:cNvSpPr/>
            <p:nvPr/>
          </p:nvSpPr>
          <p:spPr>
            <a:xfrm>
              <a:off x="5805218" y="8083601"/>
              <a:ext cx="9166883" cy="11525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ts val="1800"/>
                </a:lnSpc>
              </a:pPr>
              <a:r>
                <a:rPr lang="zh-TW" alt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為有效降低溫室氣體，政府會先設立該年溫室氣體的總量管制目標（</a:t>
              </a:r>
              <a:r>
                <a:rPr lang="en-US" altLang="zh-TW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Cap</a:t>
              </a:r>
              <a:r>
                <a:rPr lang="zh-TW" alt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），再分配二氧化碳的排放權（</a:t>
              </a:r>
              <a:r>
                <a:rPr lang="en-US" altLang="zh-TW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missions permits</a:t>
              </a:r>
              <a:r>
                <a:rPr lang="zh-TW" alt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）給各個排碳的業者，並且允許業者透過碳排放交易市場，購入或售出其交易排放配額。</a:t>
              </a:r>
            </a:p>
          </p:txBody>
        </p:sp>
      </p:grpSp>
      <p:grpSp>
        <p:nvGrpSpPr>
          <p:cNvPr id="21" name="群組 20"/>
          <p:cNvGrpSpPr/>
          <p:nvPr/>
        </p:nvGrpSpPr>
        <p:grpSpPr>
          <a:xfrm>
            <a:off x="3763136" y="3672465"/>
            <a:ext cx="7109418" cy="1116012"/>
            <a:chOff x="4250219" y="2660664"/>
            <a:chExt cx="10664127" cy="1674019"/>
          </a:xfrm>
        </p:grpSpPr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BB332981-0F07-364D-8D36-98910951FB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50219" y="2931365"/>
              <a:ext cx="1329143" cy="1295472"/>
            </a:xfrm>
            <a:prstGeom prst="rect">
              <a:avLst/>
            </a:prstGeom>
            <a:solidFill>
              <a:srgbClr val="2CC6D2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0" dist="254000" dir="8100000" algn="tr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zh-CN" altLang="en-US" sz="4000" kern="0">
                <a:solidFill>
                  <a:srgbClr val="E7E6E6">
                    <a:lumMod val="2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24E2E9F4-8B42-0E4C-8E9F-576964A7D5C4}"/>
                </a:ext>
              </a:extLst>
            </p:cNvPr>
            <p:cNvSpPr/>
            <p:nvPr/>
          </p:nvSpPr>
          <p:spPr>
            <a:xfrm>
              <a:off x="5689717" y="2660664"/>
              <a:ext cx="6892286" cy="8677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2400" b="1" dirty="0">
                  <a:solidFill>
                    <a:srgbClr val="2CC6D2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rPr>
                <a:t>永續金融</a:t>
              </a:r>
            </a:p>
          </p:txBody>
        </p:sp>
        <p:pic>
          <p:nvPicPr>
            <p:cNvPr id="24" name="圖片 23">
              <a:extLst>
                <a:ext uri="{FF2B5EF4-FFF2-40B4-BE49-F238E27FC236}">
                  <a16:creationId xmlns:a16="http://schemas.microsoft.com/office/drawing/2014/main" id="{49874F02-3974-5C45-8ED2-EE377C373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5029" y="3174101"/>
              <a:ext cx="810000" cy="810000"/>
            </a:xfrm>
            <a:prstGeom prst="rect">
              <a:avLst/>
            </a:prstGeom>
          </p:spPr>
        </p:pic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88A1F4C3-8F9C-6942-9F56-32813BAD5D8D}"/>
                </a:ext>
              </a:extLst>
            </p:cNvPr>
            <p:cNvSpPr/>
            <p:nvPr/>
          </p:nvSpPr>
          <p:spPr>
            <a:xfrm>
              <a:off x="5747462" y="3528404"/>
              <a:ext cx="9166884" cy="80627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ts val="1800"/>
                </a:lnSpc>
              </a:pPr>
              <a:r>
                <a:rPr lang="zh-TW" altLang="en-US" sz="14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綠色金融是聯合國提倡的觀念，目的是為了減少經濟活動的環境損害，以及引導資金到永續經濟活動，達到市場轉型、企業升級的目的。</a:t>
              </a:r>
              <a:endParaRPr lang="zh-CN" altLang="en-US" sz="1400" dirty="0">
                <a:solidFill>
                  <a:prstClr val="black">
                    <a:lumMod val="50000"/>
                    <a:lumOff val="50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ea"/>
                <a:sym typeface="+mn-lt"/>
              </a:endParaRPr>
            </a:p>
          </p:txBody>
        </p:sp>
      </p:grpSp>
      <p:pic>
        <p:nvPicPr>
          <p:cNvPr id="32" name="圖片 3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50" t="-360" r="22526"/>
          <a:stretch/>
        </p:blipFill>
        <p:spPr>
          <a:xfrm>
            <a:off x="-849391" y="-54021"/>
            <a:ext cx="3592591" cy="7291152"/>
          </a:xfrm>
          <a:prstGeom prst="rect">
            <a:avLst/>
          </a:prstGeom>
        </p:spPr>
      </p:pic>
      <p:sp>
        <p:nvSpPr>
          <p:cNvPr id="26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/>
          <a:p>
            <a:pPr defTabSz="914423">
              <a:defRPr/>
            </a:pPr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3</a:t>
            </a:r>
            <a:endParaRPr lang="zh-CN" altLang="en-US" sz="12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02697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圖片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50"/>
          <a:stretch/>
        </p:blipFill>
        <p:spPr>
          <a:xfrm>
            <a:off x="-116958" y="-2362200"/>
            <a:ext cx="12410558" cy="635000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2943455" y="4972308"/>
            <a:ext cx="74536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4B2E4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/>
                <a:ea typeface="微軟正黑體"/>
                <a:cs typeface="+mn-cs"/>
              </a:rPr>
              <a:t>碳定價（碳排放交易市場）</a:t>
            </a:r>
          </a:p>
        </p:txBody>
      </p:sp>
      <p:sp>
        <p:nvSpPr>
          <p:cNvPr id="4" name="ïşḻïďê-Rectangle 2"/>
          <p:cNvSpPr/>
          <p:nvPr/>
        </p:nvSpPr>
        <p:spPr>
          <a:xfrm>
            <a:off x="-1168400" y="-1905000"/>
            <a:ext cx="14206058" cy="5892800"/>
          </a:xfrm>
          <a:prstGeom prst="rect">
            <a:avLst/>
          </a:prstGeom>
          <a:solidFill>
            <a:schemeClr val="tx1">
              <a:alpha val="6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/>
              <a:cs typeface="+mn-cs"/>
            </a:endParaRPr>
          </a:p>
        </p:txBody>
      </p:sp>
      <p:grpSp>
        <p:nvGrpSpPr>
          <p:cNvPr id="5" name="群組 4"/>
          <p:cNvGrpSpPr/>
          <p:nvPr/>
        </p:nvGrpSpPr>
        <p:grpSpPr>
          <a:xfrm>
            <a:off x="914401" y="2307418"/>
            <a:ext cx="3624335" cy="1166290"/>
            <a:chOff x="1909493" y="3461126"/>
            <a:chExt cx="5436503" cy="1749435"/>
          </a:xfrm>
        </p:grpSpPr>
        <p:sp>
          <p:nvSpPr>
            <p:cNvPr id="6" name="矩形 5"/>
            <p:cNvSpPr/>
            <p:nvPr/>
          </p:nvSpPr>
          <p:spPr>
            <a:xfrm>
              <a:off x="1909493" y="3461126"/>
              <a:ext cx="5436503" cy="1475019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4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F0502020204030204"/>
                  <a:ea typeface="微軟正黑體"/>
                  <a:cs typeface="+mn-ea"/>
                  <a:sym typeface="+mn-lt"/>
                </a:rPr>
                <a:t>國際政策一</a:t>
              </a:r>
            </a:p>
          </p:txBody>
        </p:sp>
        <p:cxnSp>
          <p:nvCxnSpPr>
            <p:cNvPr id="8" name="直接连接符 30"/>
            <p:cNvCxnSpPr/>
            <p:nvPr/>
          </p:nvCxnSpPr>
          <p:spPr>
            <a:xfrm>
              <a:off x="2578800" y="5210561"/>
              <a:ext cx="3060000" cy="0"/>
            </a:xfrm>
            <a:prstGeom prst="line">
              <a:avLst/>
            </a:prstGeom>
            <a:ln w="25400" cap="rnd">
              <a:solidFill>
                <a:srgbClr val="34B2E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65579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0"/>
            <a:ext cx="12192000" cy="6843048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kumimoji="1" lang="zh-TW" altLang="en-US" sz="1400" dirty="0">
              <a:solidFill>
                <a:srgbClr val="FFFFFF"/>
              </a:solidFill>
              <a:latin typeface="Times New Roman" panose="02020603050405020304" pitchFamily="18" charset="0"/>
              <a:ea typeface="標楷體" panose="03000509000000000000" pitchFamily="65" charset="-120"/>
              <a:cs typeface="Times New Roman" panose="02020603050405020304" pitchFamily="18" charset="0"/>
            </a:endParaRPr>
          </a:p>
        </p:txBody>
      </p:sp>
      <p:sp>
        <p:nvSpPr>
          <p:cNvPr id="21" name="內容版面配置區 3"/>
          <p:cNvSpPr txBox="1">
            <a:spLocks/>
          </p:cNvSpPr>
          <p:nvPr/>
        </p:nvSpPr>
        <p:spPr>
          <a:xfrm>
            <a:off x="1649903" y="2834031"/>
            <a:ext cx="8431508" cy="1387231"/>
          </a:xfrm>
          <a:prstGeom prst="rect">
            <a:avLst/>
          </a:prstGeom>
          <a:noFill/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9170">
              <a:lnSpc>
                <a:spcPct val="120000"/>
              </a:lnSpc>
              <a:spcBef>
                <a:spcPts val="1333"/>
              </a:spcBef>
              <a:buClr>
                <a:srgbClr val="990099"/>
              </a:buClr>
              <a:buNone/>
            </a:pPr>
            <a:r>
              <a:rPr kumimoji="1" lang="zh-TW" altLang="en-US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 </a:t>
            </a:r>
            <a:r>
              <a:rPr kumimoji="1" lang="en-US" altLang="zh-TW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WWF: </a:t>
            </a:r>
            <a:r>
              <a:rPr kumimoji="1" lang="zh-TW" altLang="en-US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自 </a:t>
            </a:r>
            <a:r>
              <a:rPr kumimoji="1" lang="en-US" altLang="zh-TW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1970 </a:t>
            </a:r>
            <a:r>
              <a:rPr kumimoji="1" lang="zh-TW" altLang="en-US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代人類致 </a:t>
            </a:r>
            <a:r>
              <a:rPr kumimoji="1" lang="en-US" altLang="zh-TW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4,000 </a:t>
            </a:r>
            <a:r>
              <a:rPr kumimoji="1" lang="zh-TW" altLang="en-US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種動物群族減 </a:t>
            </a:r>
            <a:r>
              <a:rPr kumimoji="1" lang="en-US" altLang="zh-TW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60%</a:t>
            </a:r>
            <a:r>
              <a:rPr kumimoji="1" lang="zh-TW" altLang="en-US" sz="2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，問題根源是過度消費，我們不應再忽略當前不可持續的生產模式和浪費帶來的影響。</a:t>
            </a:r>
            <a:endParaRPr kumimoji="1" lang="en-US" altLang="zh-TW" sz="2400" b="1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0" indent="0" defTabSz="1219170">
              <a:spcBef>
                <a:spcPts val="1333"/>
              </a:spcBef>
              <a:buNone/>
            </a:pPr>
            <a:endParaRPr kumimoji="1" lang="en-US" altLang="zh-TW" sz="2400" b="1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0" indent="0" defTabSz="1219170">
              <a:spcBef>
                <a:spcPts val="1333"/>
              </a:spcBef>
              <a:buNone/>
            </a:pPr>
            <a:endParaRPr kumimoji="1" lang="en-US" altLang="zh-TW" sz="2400" b="1" dirty="0">
              <a:solidFill>
                <a:srgbClr val="FFFFFF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22" name="標題 2"/>
          <p:cNvSpPr txBox="1">
            <a:spLocks/>
          </p:cNvSpPr>
          <p:nvPr/>
        </p:nvSpPr>
        <p:spPr>
          <a:xfrm>
            <a:off x="2999295" y="1596937"/>
            <a:ext cx="5321300" cy="1086955"/>
          </a:xfrm>
          <a:prstGeom prst="rect">
            <a:avLst/>
          </a:prstGeom>
          <a:noFill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r>
              <a:rPr kumimoji="1" lang="zh-CN" altLang="en-US" sz="32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法制趕不上環境惡化的速度，永續發展似乎成為了奢想</a:t>
            </a:r>
            <a:r>
              <a:rPr kumimoji="1" lang="en-US" altLang="zh-TW" sz="32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⋯</a:t>
            </a:r>
            <a:endParaRPr kumimoji="1" lang="zh-TW" altLang="en-US" sz="3200" b="1" dirty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defTabSz="1219170"/>
            <a:endParaRPr kumimoji="1" lang="zh-TW" altLang="en-US" sz="3200" b="1" dirty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384349" y="4221263"/>
            <a:ext cx="2794355" cy="3274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585">
              <a:lnSpc>
                <a:spcPct val="120000"/>
              </a:lnSpc>
              <a:buClr>
                <a:srgbClr val="990099"/>
              </a:buClr>
            </a:pPr>
            <a:r>
              <a:rPr kumimoji="1" lang="zh-TW" altLang="en-US" sz="1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資料來源：立場報道 </a:t>
            </a:r>
            <a:r>
              <a:rPr kumimoji="1" lang="en-US" altLang="zh-TW" sz="1400" b="1" dirty="0">
                <a:solidFill>
                  <a:srgbClr val="FFFFFF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18.10.30</a:t>
            </a: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>
              <a:defRPr/>
            </a:pPr>
            <a:fld id="{308B544C-84DB-4EA5-9F0E-01A742FEE478}" type="slidenum">
              <a:rPr lang="zh-TW" altLang="en-US" sz="2400">
                <a:solidFill>
                  <a:prstClr val="black"/>
                </a:solidFill>
                <a:latin typeface="Arial"/>
                <a:ea typeface="微軟正黑體"/>
              </a:rPr>
              <a:pPr defTabSz="609585">
                <a:defRPr/>
              </a:pPr>
              <a:t>4</a:t>
            </a:fld>
            <a:endParaRPr lang="zh-TW" altLang="en-US" sz="2400">
              <a:solidFill>
                <a:prstClr val="black"/>
              </a:solidFill>
              <a:latin typeface="Arial"/>
              <a:ea typeface="微軟正黑體"/>
            </a:endParaRPr>
          </a:p>
        </p:txBody>
      </p:sp>
    </p:spTree>
    <p:extLst>
      <p:ext uri="{BB962C8B-B14F-4D97-AF65-F5344CB8AC3E}">
        <p14:creationId xmlns:p14="http://schemas.microsoft.com/office/powerpoint/2010/main" val="394821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>
            <a:extLst>
              <a:ext uri="{FF2B5EF4-FFF2-40B4-BE49-F238E27FC236}">
                <a16:creationId xmlns:a16="http://schemas.microsoft.com/office/drawing/2014/main" id="{BEDE200F-D75D-4C8A-8A85-81B8B8CAE4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37583" y="1"/>
            <a:ext cx="10515600" cy="1325563"/>
          </a:xfrm>
        </p:spPr>
        <p:txBody>
          <a:bodyPr>
            <a:normAutofit/>
          </a:bodyPr>
          <a:lstStyle/>
          <a:p>
            <a:pPr defTabSz="410644"/>
            <a:r>
              <a:rPr lang="zh-TW" altLang="en-US" sz="3667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碳排放交易市場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082D242-2AF4-45B8-B2AE-E09E8E76B947}"/>
              </a:ext>
            </a:extLst>
          </p:cNvPr>
          <p:cNvSpPr/>
          <p:nvPr/>
        </p:nvSpPr>
        <p:spPr>
          <a:xfrm>
            <a:off x="1355724" y="1110727"/>
            <a:ext cx="9464676" cy="707694"/>
          </a:xfrm>
          <a:prstGeom prst="rect">
            <a:avLst/>
          </a:prstGeom>
          <a:solidFill>
            <a:srgbClr val="E8F3D4"/>
          </a:solidFill>
        </p:spPr>
        <p:txBody>
          <a:bodyPr wrap="square">
            <a:spAutoFit/>
          </a:bodyPr>
          <a:lstStyle>
            <a:lvl1pPr marL="257175" indent="-257175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171459" marR="0" lvl="0" indent="-171459" algn="just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碳排放交易是數量工具</a:t>
            </a:r>
            <a:endParaRPr kumimoji="0" lang="en-US" altLang="zh-TW" sz="1333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171459" marR="0" lvl="0" indent="-171459" algn="just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政府會先設立溫室氣體的總量管制目標（</a:t>
            </a:r>
            <a:r>
              <a:rPr kumimoji="0" lang="en-US" altLang="zh-TW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Cap</a:t>
            </a: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），再分配二氧化碳的排放權給各個排碳的業者</a:t>
            </a:r>
            <a:endParaRPr kumimoji="0" lang="en-US" altLang="zh-TW" sz="1333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171459" marR="0" lvl="0" indent="-171459" algn="just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允許</a:t>
            </a:r>
            <a:r>
              <a:rPr kumimoji="0" lang="zh-CN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其</a:t>
            </a: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透過</a:t>
            </a:r>
            <a:r>
              <a:rPr kumimoji="0" lang="zh-CN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交易排放</a:t>
            </a: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配額</a:t>
            </a:r>
            <a:r>
              <a:rPr kumimoji="0" lang="zh-CN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的方</a:t>
            </a:r>
            <a:r>
              <a:rPr kumimoji="0" lang="zh-TW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式進行履約</a:t>
            </a:r>
            <a:r>
              <a:rPr kumimoji="0" lang="zh-CN" alt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。</a:t>
            </a:r>
            <a:endParaRPr kumimoji="0" lang="en-US" altLang="zh-TW" sz="1333" b="1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grpSp>
        <p:nvGrpSpPr>
          <p:cNvPr id="3" name="群組 2"/>
          <p:cNvGrpSpPr/>
          <p:nvPr/>
        </p:nvGrpSpPr>
        <p:grpSpPr>
          <a:xfrm>
            <a:off x="1355723" y="1908195"/>
            <a:ext cx="9464676" cy="4645486"/>
            <a:chOff x="2033585" y="2862292"/>
            <a:chExt cx="14197014" cy="6968229"/>
          </a:xfrm>
        </p:grpSpPr>
        <p:pic>
          <p:nvPicPr>
            <p:cNvPr id="104453" name="Picture 2" descr="https://scitechvista.nat.gov.tw/context/image/jpg/d12da6633c42ebacdc2d9e190a6c01c85d5305b4ac4b2290467929b5e0b59710.jpg">
              <a:extLst>
                <a:ext uri="{FF2B5EF4-FFF2-40B4-BE49-F238E27FC236}">
                  <a16:creationId xmlns:a16="http://schemas.microsoft.com/office/drawing/2014/main" id="{BC903E84-6CC5-45D8-840C-B597CD2DF3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" t="18250" r="3458" b="6693"/>
            <a:stretch>
              <a:fillRect/>
            </a:stretch>
          </p:blipFill>
          <p:spPr bwMode="auto">
            <a:xfrm>
              <a:off x="2033585" y="2886779"/>
              <a:ext cx="14197014" cy="6943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矩形 1"/>
            <p:cNvSpPr/>
            <p:nvPr/>
          </p:nvSpPr>
          <p:spPr>
            <a:xfrm>
              <a:off x="2035357" y="2862292"/>
              <a:ext cx="5432450" cy="1875721"/>
            </a:xfrm>
            <a:prstGeom prst="rect">
              <a:avLst/>
            </a:prstGeom>
            <a:solidFill>
              <a:srgbClr val="FFF9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endParaRPr>
            </a:p>
          </p:txBody>
        </p:sp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14BA3AB1-5455-4831-9353-9D4D48DED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601" y="3162299"/>
              <a:ext cx="5427135" cy="1037784"/>
            </a:xfrm>
            <a:prstGeom prst="rect">
              <a:avLst/>
            </a:prstGeom>
            <a:solidFill>
              <a:srgbClr val="FFF9E6"/>
            </a:solidFill>
            <a:ln>
              <a:solidFill>
                <a:sysClr val="windowText" lastClr="000000">
                  <a:lumMod val="95000"/>
                  <a:lumOff val="5000"/>
                </a:sysClr>
              </a:solidFill>
            </a:ln>
          </p:spPr>
          <p:txBody>
            <a:bodyPr wrap="square">
              <a:spAutoFit/>
            </a:bodyPr>
            <a:lstStyle>
              <a:lvl1pPr defTabSz="3079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1pPr>
              <a:lvl2pPr marL="742950" indent="-285750" defTabSz="3079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2pPr>
              <a:lvl3pPr marL="1143000" indent="-228600" defTabSz="3079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3pPr>
              <a:lvl4pPr marL="1600200" indent="-228600" defTabSz="3079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4pPr>
              <a:lvl5pPr marL="2057400" indent="-228600" defTabSz="3079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5pPr>
              <a:lvl6pPr marL="2514600" indent="-228600" defTabSz="3079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6pPr>
              <a:lvl7pPr marL="2971800" indent="-228600" defTabSz="3079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7pPr>
              <a:lvl8pPr marL="3429000" indent="-228600" defTabSz="3079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8pPr>
              <a:lvl9pPr marL="3886200" indent="-228600" defTabSz="3079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9pPr>
            </a:lstStyle>
            <a:p>
              <a:pPr marL="0" marR="0" lvl="0" indent="0" algn="just" defTabSz="205327" rtl="0" eaLnBrk="1" fontAlgn="auto" latinLnBrk="0" hangingPunct="1">
                <a:lnSpc>
                  <a:spcPts val="1617"/>
                </a:lnSpc>
                <a:spcBef>
                  <a:spcPts val="533"/>
                </a:spcBef>
                <a:spcAft>
                  <a:spcPts val="533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歐盟自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2005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年起實施碳交易制度，且隨著減碳目標的增加，預計碳價持續增加─目前歐盟碳價約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80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歐元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(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相當於新台幣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2,500</a:t>
              </a:r>
              <a:r>
                <a:rPr kumimoji="0" lang="zh-TW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元</a:t>
              </a:r>
              <a:r>
                <a:rPr kumimoji="0" lang="en-US" altLang="zh-TW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)</a:t>
              </a:r>
            </a:p>
          </p:txBody>
        </p:sp>
      </p:grpSp>
      <p:sp>
        <p:nvSpPr>
          <p:cNvPr id="9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/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5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0912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l="19553" r="19553"/>
          <a:stretch>
            <a:fillRect/>
          </a:stretch>
        </p:blipFill>
        <p:spPr>
          <a:xfrm>
            <a:off x="8025048" y="-112831"/>
            <a:ext cx="4313413" cy="7083662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8707094" y="685800"/>
            <a:ext cx="2809621" cy="1421721"/>
            <a:chOff x="0" y="0"/>
            <a:chExt cx="5619242" cy="2843442"/>
          </a:xfrm>
        </p:grpSpPr>
        <p:sp>
          <p:nvSpPr>
            <p:cNvPr id="4" name="AutoShape 4"/>
            <p:cNvSpPr/>
            <p:nvPr/>
          </p:nvSpPr>
          <p:spPr>
            <a:xfrm>
              <a:off x="0" y="0"/>
              <a:ext cx="5619242" cy="2415634"/>
            </a:xfrm>
            <a:prstGeom prst="rect">
              <a:avLst/>
            </a:prstGeom>
            <a:solidFill>
              <a:srgbClr val="171710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498672" y="366866"/>
              <a:ext cx="5120570" cy="247657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329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+mn-cs"/>
                </a:rPr>
                <a:t>全球碳市場</a:t>
              </a:r>
              <a:endParaRPr kumimoji="0" lang="en-US" altLang="zh-TW" sz="3200" b="1" i="0" u="none" strike="noStrike" kern="1200" cap="none" spc="76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  <a:p>
              <a:pPr marL="0" marR="0" lvl="0" indent="0" algn="l" defTabSz="609630" rtl="0" eaLnBrk="1" fontAlgn="auto" latinLnBrk="0" hangingPunct="1">
                <a:lnSpc>
                  <a:spcPts val="329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+mn-cs"/>
                </a:rPr>
                <a:t>成長趨勢</a:t>
              </a:r>
            </a:p>
            <a:p>
              <a:pPr marL="0" marR="0" lvl="0" indent="0" algn="l" defTabSz="609630" rtl="0" eaLnBrk="1" fontAlgn="auto" latinLnBrk="0" hangingPunct="1">
                <a:lnSpc>
                  <a:spcPts val="329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533" b="1" i="0" u="none" strike="noStrike" kern="1200" cap="none" spc="76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微軟正黑體" panose="020B0604030504040204" pitchFamily="34" charset="-120"/>
                <a:ea typeface="Aileron Heavy"/>
                <a:cs typeface="+mn-cs"/>
              </a:endParaRPr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532237" y="494970"/>
            <a:ext cx="6507431" cy="22185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604550" marR="0" lvl="1" indent="-302275" algn="just" defTabSz="60963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根據數據供應商路孚特（</a:t>
            </a:r>
            <a:r>
              <a:rPr kumimoji="0" lang="en-US" altLang="zh-TW" sz="2133" b="0" i="0" u="none" strike="noStrike" kern="1200" cap="none" spc="28" normalizeH="0" baseline="0" noProof="0" dirty="0" err="1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Refinitiv</a:t>
            </a: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）的統計，</a:t>
            </a:r>
            <a:r>
              <a:rPr kumimoji="0" lang="en-US" altLang="zh-TW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1</a:t>
            </a: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碳市場的總交易價值達</a:t>
            </a:r>
            <a:r>
              <a:rPr kumimoji="0" lang="en-US" altLang="zh-TW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7,600</a:t>
            </a: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億歐元，比前一年的</a:t>
            </a:r>
            <a:r>
              <a:rPr kumimoji="0" lang="en-US" altLang="zh-TW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,890</a:t>
            </a: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億元成長近</a:t>
            </a:r>
            <a:r>
              <a:rPr kumimoji="0" lang="en-US" altLang="zh-TW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64%</a:t>
            </a:r>
            <a:r>
              <a:rPr kumimoji="0" lang="zh-TW" altLang="en-US" sz="2133" b="0" i="0" u="none" strike="noStrike" kern="1200" cap="none" spc="28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，連續五年創下新高。</a:t>
            </a:r>
          </a:p>
          <a:p>
            <a:pPr marL="604550" marR="0" lvl="1" indent="-302275" algn="just" defTabSz="609630" rtl="0" eaLnBrk="1" fontAlgn="auto" latinLnBrk="0" hangingPunct="1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zh-TW" altLang="en-US" sz="2133" b="0" i="0" u="none" strike="noStrike" kern="1200" cap="none" spc="28" normalizeH="0" baseline="0" noProof="0" dirty="0">
              <a:ln>
                <a:noFill/>
              </a:ln>
              <a:solidFill>
                <a:srgbClr val="F4F5F7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604550" marR="0" lvl="1" indent="-302275" algn="just" defTabSz="609630" rtl="0" eaLnBrk="1" fontAlgn="auto" latinLnBrk="0" hangingPunct="1">
              <a:lnSpc>
                <a:spcPts val="333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800" b="0" i="0" u="none" strike="noStrike" kern="1200" cap="none" spc="28" normalizeH="0" baseline="0" noProof="0" dirty="0">
              <a:ln>
                <a:noFill/>
              </a:ln>
              <a:solidFill>
                <a:srgbClr val="F4F5F7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8" name="文字方塊 9">
            <a:extLst>
              <a:ext uri="{FF2B5EF4-FFF2-40B4-BE49-F238E27FC236}">
                <a16:creationId xmlns:a16="http://schemas.microsoft.com/office/drawing/2014/main" id="{19CBEB10-24AD-414B-9C11-0B938528BD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6121400"/>
            <a:ext cx="65637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l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圖片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&amp;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資料來源：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Refinitiv2021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度碳市場報告</a:t>
            </a:r>
            <a:endParaRPr kumimoji="0" lang="en-US" altLang="zh-TW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0" marR="0" lvl="0" indent="0" algn="l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https://www.refinitiv.com/content/dam/marketing/en_us/documents/gated/reports/carbon-market-year-in-review-2022.pdf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pic>
        <p:nvPicPr>
          <p:cNvPr id="9" name="圖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125987"/>
            <a:ext cx="6640406" cy="3911999"/>
          </a:xfrm>
          <a:prstGeom prst="rect">
            <a:avLst/>
          </a:prstGeom>
        </p:spPr>
      </p:pic>
      <p:sp>
        <p:nvSpPr>
          <p:cNvPr id="11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微軟正黑體" panose="020B0604030504040204" pitchFamily="34" charset="-12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en-US" smtClean="0"/>
              <a:pPr marL="0" marR="0" lvl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2306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l="32314" r="32314"/>
          <a:stretch>
            <a:fillRect/>
          </a:stretch>
        </p:blipFill>
        <p:spPr>
          <a:xfrm>
            <a:off x="-128352" y="-112831"/>
            <a:ext cx="3741913" cy="7083662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685801" y="685800"/>
            <a:ext cx="3287803" cy="1087590"/>
            <a:chOff x="0" y="0"/>
            <a:chExt cx="6575607" cy="2175181"/>
          </a:xfrm>
        </p:grpSpPr>
        <p:sp>
          <p:nvSpPr>
            <p:cNvPr id="4" name="AutoShape 4"/>
            <p:cNvSpPr/>
            <p:nvPr/>
          </p:nvSpPr>
          <p:spPr>
            <a:xfrm>
              <a:off x="0" y="0"/>
              <a:ext cx="6575607" cy="2175181"/>
            </a:xfrm>
            <a:prstGeom prst="rect">
              <a:avLst/>
            </a:prstGeom>
            <a:solidFill>
              <a:srgbClr val="171710"/>
            </a:solidFill>
          </p:spPr>
        </p:sp>
        <p:sp>
          <p:nvSpPr>
            <p:cNvPr id="5" name="TextBox 5"/>
            <p:cNvSpPr txBox="1"/>
            <p:nvPr/>
          </p:nvSpPr>
          <p:spPr>
            <a:xfrm>
              <a:off x="561014" y="316064"/>
              <a:ext cx="5453579" cy="153888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304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+mn-cs"/>
                </a:rPr>
                <a:t>主要碳市場</a:t>
              </a:r>
              <a:endParaRPr kumimoji="0" lang="en-US" altLang="zh-TW" sz="3200" b="1" i="0" u="none" strike="noStrike" kern="1200" cap="none" spc="76" normalizeH="0" baseline="0" noProof="0" dirty="0">
                <a:ln>
                  <a:noFill/>
                </a:ln>
                <a:solidFill>
                  <a:srgbClr val="F4F5F7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endParaRPr>
            </a:p>
            <a:p>
              <a:pPr marL="0" marR="0" lvl="0" indent="0" algn="l" defTabSz="609630" rtl="0" eaLnBrk="1" fontAlgn="auto" latinLnBrk="0" hangingPunct="1">
                <a:lnSpc>
                  <a:spcPts val="304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+mn-cs"/>
                </a:rPr>
                <a:t>價量比較</a:t>
              </a:r>
            </a:p>
          </p:txBody>
        </p:sp>
      </p:grpSp>
      <p:sp>
        <p:nvSpPr>
          <p:cNvPr id="7" name="TextBox 7"/>
          <p:cNvSpPr txBox="1"/>
          <p:nvPr/>
        </p:nvSpPr>
        <p:spPr>
          <a:xfrm>
            <a:off x="4122126" y="482600"/>
            <a:ext cx="7511074" cy="21911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42405" marR="0" lvl="0" indent="-304815" algn="just" defTabSz="60963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和交易量相比，碳價的飆漲是全球主要碳市場連年成長的主因。</a:t>
            </a:r>
            <a:endParaRPr kumimoji="0" lang="en-US" altLang="zh-TW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Calibri" panose="020F0502020204030204" pitchFamily="34" charset="0"/>
            </a:endParaRPr>
          </a:p>
          <a:p>
            <a:pPr marL="442405" marR="0" lvl="0" indent="-304815" algn="just" defTabSz="60963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歐洲排放交易機制（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EU ETS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）佔全球碳市場交易價值的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90%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，在碳交易價格上，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2021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年歐盟碳價較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2020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年成長了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162%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，主因除在於歐盟具體承諾在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2030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年將溫室氣體淨排放量比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1990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年減少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55%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外，</a:t>
            </a:r>
            <a:r>
              <a:rPr kumimoji="0" lang="en-US" altLang="zh-TW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2021</a:t>
            </a:r>
            <a:r>
              <a:rPr kumimoji="0" lang="zh-TW" altLang="en-US" sz="18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  <a:sym typeface="Calibri" panose="020F0502020204030204" pitchFamily="34" charset="0"/>
              </a:rPr>
              <a:t>年歐盟天然氣價格的飆升，亦刺激了市場對於煤炭發電的需求，從而使碳價上漲。</a:t>
            </a:r>
            <a:endParaRPr kumimoji="0" lang="en-US" altLang="zh-TW" sz="18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圖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0400" y="2903229"/>
            <a:ext cx="7236754" cy="31673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19CBEB10-24AD-414B-9C11-0B938528BD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2000" y="6216889"/>
            <a:ext cx="65637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marL="0" marR="0" lvl="0" indent="0" algn="l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圖片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&amp;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資料來源：</a:t>
            </a: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Refinitiv2021</a:t>
            </a:r>
            <a:r>
              <a:rPr kumimoji="0" lang="zh-TW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度碳市場報告</a:t>
            </a:r>
            <a:endParaRPr kumimoji="0" lang="en-US" altLang="zh-TW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0" marR="0" lvl="0" indent="0" algn="l" defTabSz="4572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https://www.refinitiv.com/content/dam/marketing/en_us/documents/gated/reports/carbon-market-year-in-review-2022.pdf</a:t>
            </a:r>
            <a:endParaRPr kumimoji="0" lang="zh-TW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12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marL="0" marR="0" lvl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2759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圖片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9"/>
          <a:stretch/>
        </p:blipFill>
        <p:spPr>
          <a:xfrm>
            <a:off x="-121469" y="-2823155"/>
            <a:ext cx="13329469" cy="6810955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2943455" y="4972308"/>
            <a:ext cx="65971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34B2E4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碳邊境調整機制</a:t>
            </a:r>
          </a:p>
        </p:txBody>
      </p:sp>
      <p:sp>
        <p:nvSpPr>
          <p:cNvPr id="4" name="ïşḻïďê-Rectangle 2"/>
          <p:cNvSpPr/>
          <p:nvPr/>
        </p:nvSpPr>
        <p:spPr>
          <a:xfrm>
            <a:off x="-1219200" y="-1905000"/>
            <a:ext cx="14206058" cy="5892800"/>
          </a:xfrm>
          <a:prstGeom prst="rect">
            <a:avLst/>
          </a:prstGeom>
          <a:solidFill>
            <a:schemeClr val="tx1">
              <a:alpha val="6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新細明體" panose="02020500000000000000" pitchFamily="18" charset="-120"/>
              <a:cs typeface="+mn-cs"/>
            </a:endParaRPr>
          </a:p>
        </p:txBody>
      </p:sp>
      <p:grpSp>
        <p:nvGrpSpPr>
          <p:cNvPr id="5" name="群組 4"/>
          <p:cNvGrpSpPr/>
          <p:nvPr/>
        </p:nvGrpSpPr>
        <p:grpSpPr>
          <a:xfrm>
            <a:off x="914401" y="2307418"/>
            <a:ext cx="3624335" cy="1166290"/>
            <a:chOff x="1909493" y="3461126"/>
            <a:chExt cx="5436503" cy="1749435"/>
          </a:xfrm>
        </p:grpSpPr>
        <p:sp>
          <p:nvSpPr>
            <p:cNvPr id="6" name="矩形 5"/>
            <p:cNvSpPr/>
            <p:nvPr/>
          </p:nvSpPr>
          <p:spPr>
            <a:xfrm>
              <a:off x="1909493" y="3461126"/>
              <a:ext cx="5436503" cy="1475309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4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軟正黑體" panose="020B0604030504040204" pitchFamily="34" charset="-120"/>
                  <a:ea typeface="微軟正黑體" panose="020B0604030504040204" pitchFamily="34" charset="-120"/>
                  <a:cs typeface="+mn-ea"/>
                  <a:sym typeface="+mn-lt"/>
                </a:rPr>
                <a:t>國際政策二</a:t>
              </a:r>
            </a:p>
          </p:txBody>
        </p:sp>
        <p:cxnSp>
          <p:nvCxnSpPr>
            <p:cNvPr id="8" name="直接连接符 30"/>
            <p:cNvCxnSpPr/>
            <p:nvPr/>
          </p:nvCxnSpPr>
          <p:spPr>
            <a:xfrm>
              <a:off x="2578800" y="5210561"/>
              <a:ext cx="3060000" cy="0"/>
            </a:xfrm>
            <a:prstGeom prst="line">
              <a:avLst/>
            </a:prstGeom>
            <a:ln w="25400" cap="rnd">
              <a:solidFill>
                <a:srgbClr val="34B2E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322991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9"/>
          <p:cNvSpPr txBox="1"/>
          <p:nvPr/>
        </p:nvSpPr>
        <p:spPr>
          <a:xfrm>
            <a:off x="4649873" y="3089242"/>
            <a:ext cx="2817727" cy="18533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2275" marR="0" lvl="1" indent="-151138" algn="just" defTabSz="609630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zh-TW" altLang="en-US" sz="1867" b="0" i="0" u="none" strike="noStrike" kern="1200" cap="none" spc="14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洩漏風險：生產移轉至境外、進口（碳含量較高）產品消費增加</a:t>
            </a:r>
          </a:p>
          <a:p>
            <a:pPr marL="302275" marR="0" lvl="1" indent="-151138" algn="just" defTabSz="609630" rtl="0" eaLnBrk="1" fontAlgn="auto" latinLnBrk="0" hangingPunct="1">
              <a:lnSpc>
                <a:spcPts val="266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TW" sz="1867" b="0" i="0" u="none" strike="noStrike" kern="1200" cap="none" spc="14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1867" b="0" i="0" u="none" strike="noStrike" kern="1200" cap="none" spc="14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要求進口產品也需負擔減碳成本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182076" y="2206327"/>
            <a:ext cx="2340941" cy="33195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7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133" b="1" i="0" u="none" strike="noStrike" kern="1200" cap="none" spc="93" normalizeH="0" baseline="0" noProof="0" dirty="0">
                <a:ln>
                  <a:noFill/>
                </a:ln>
                <a:solidFill>
                  <a:srgbClr val="20909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避免發生碳洩漏</a:t>
            </a:r>
          </a:p>
        </p:txBody>
      </p:sp>
      <p:grpSp>
        <p:nvGrpSpPr>
          <p:cNvPr id="41" name="群組 40"/>
          <p:cNvGrpSpPr/>
          <p:nvPr/>
        </p:nvGrpSpPr>
        <p:grpSpPr>
          <a:xfrm>
            <a:off x="988499" y="1836892"/>
            <a:ext cx="3176359" cy="4335308"/>
            <a:chOff x="1040370" y="2755338"/>
            <a:chExt cx="4764539" cy="6502962"/>
          </a:xfrm>
        </p:grpSpPr>
        <p:sp>
          <p:nvSpPr>
            <p:cNvPr id="13" name="AutoShape 13"/>
            <p:cNvSpPr/>
            <p:nvPr/>
          </p:nvSpPr>
          <p:spPr>
            <a:xfrm>
              <a:off x="1040370" y="2755338"/>
              <a:ext cx="4764539" cy="3133473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1223294" y="4633863"/>
              <a:ext cx="4291595" cy="3299462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302275" marR="0" lvl="1" indent="-151138" algn="just" defTabSz="609630" rtl="0" eaLnBrk="1" fontAlgn="auto" latinLnBrk="0" hangingPunct="1">
                <a:lnSpc>
                  <a:spcPts val="2667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歐洲議會通過</a:t>
              </a: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《</a:t>
              </a: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歐盟氣候法</a:t>
              </a: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》</a:t>
              </a: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，提高</a:t>
              </a: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2030</a:t>
              </a: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年減碳目標，較</a:t>
              </a: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1990</a:t>
              </a: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年減少至少</a:t>
              </a: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55%</a:t>
              </a:r>
              <a:endParaRPr kumimoji="0" lang="zh-TW" altLang="en-US" sz="1867" b="0" i="0" u="none" strike="noStrike" kern="1200" cap="none" spc="14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  <a:p>
              <a:pPr marL="302275" marR="0" lvl="1" indent="-151138" algn="just" defTabSz="609630" rtl="0" eaLnBrk="1" fontAlgn="auto" latinLnBrk="0" hangingPunct="1">
                <a:lnSpc>
                  <a:spcPts val="266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altLang="zh-TW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CBAM</a:t>
              </a:r>
              <a:r>
                <a:rPr kumimoji="0" lang="zh-TW" alt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為</a:t>
              </a:r>
              <a:r>
                <a:rPr kumimoji="0" lang="en-US" altLang="zh-TW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Fit for 55</a:t>
              </a:r>
              <a:r>
                <a:rPr kumimoji="0" lang="zh-TW" altLang="zh-TW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包裹法案</a:t>
              </a:r>
              <a:r>
                <a:rPr kumimoji="0" lang="zh-TW" altLang="en-US" sz="18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中重要機制</a:t>
              </a:r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2047671" y="3304283"/>
              <a:ext cx="3511413" cy="103653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just" defTabSz="609630" rtl="0" eaLnBrk="1" fontAlgn="auto" latinLnBrk="0" hangingPunct="1">
                <a:lnSpc>
                  <a:spcPts val="27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93" normalizeH="0" baseline="0" noProof="0" dirty="0">
                  <a:ln>
                    <a:noFill/>
                  </a:ln>
                  <a:solidFill>
                    <a:srgbClr val="209097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Fit for 55：</a:t>
              </a:r>
              <a:r>
                <a:rPr kumimoji="0" lang="zh-TW" altLang="en-US" sz="2133" b="1" i="0" u="none" strike="noStrike" kern="1200" cap="none" spc="93" normalizeH="0" baseline="0" noProof="0" dirty="0">
                  <a:ln>
                    <a:noFill/>
                  </a:ln>
                  <a:solidFill>
                    <a:srgbClr val="209097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加速減少溫室氣體排放</a:t>
              </a:r>
            </a:p>
          </p:txBody>
        </p:sp>
        <p:pic>
          <p:nvPicPr>
            <p:cNvPr id="16" name="Picture 16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1297866" y="3333235"/>
              <a:ext cx="566876" cy="425156"/>
            </a:xfrm>
            <a:prstGeom prst="rect">
              <a:avLst/>
            </a:prstGeom>
          </p:spPr>
        </p:pic>
        <p:sp>
          <p:nvSpPr>
            <p:cNvPr id="20" name="AutoShape 20"/>
            <p:cNvSpPr/>
            <p:nvPr/>
          </p:nvSpPr>
          <p:spPr>
            <a:xfrm>
              <a:off x="1040370" y="5888811"/>
              <a:ext cx="4764538" cy="3369489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</p:grpSp>
      <p:grpSp>
        <p:nvGrpSpPr>
          <p:cNvPr id="42" name="群組 41"/>
          <p:cNvGrpSpPr/>
          <p:nvPr/>
        </p:nvGrpSpPr>
        <p:grpSpPr>
          <a:xfrm>
            <a:off x="4505876" y="1836893"/>
            <a:ext cx="3184930" cy="4338271"/>
            <a:chOff x="6755896" y="2755338"/>
            <a:chExt cx="4777395" cy="6507407"/>
          </a:xfrm>
        </p:grpSpPr>
        <p:sp>
          <p:nvSpPr>
            <p:cNvPr id="8" name="AutoShape 8"/>
            <p:cNvSpPr/>
            <p:nvPr/>
          </p:nvSpPr>
          <p:spPr>
            <a:xfrm>
              <a:off x="6755896" y="2755338"/>
              <a:ext cx="4764538" cy="1970718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  <p:pic>
          <p:nvPicPr>
            <p:cNvPr id="11" name="Picture 11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7023309" y="3333235"/>
              <a:ext cx="566875" cy="425156"/>
            </a:xfrm>
            <a:prstGeom prst="rect">
              <a:avLst/>
            </a:prstGeom>
          </p:spPr>
        </p:pic>
        <p:sp>
          <p:nvSpPr>
            <p:cNvPr id="24" name="AutoShape 24"/>
            <p:cNvSpPr/>
            <p:nvPr/>
          </p:nvSpPr>
          <p:spPr>
            <a:xfrm>
              <a:off x="6768753" y="4730502"/>
              <a:ext cx="4764538" cy="4532243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</p:grpSp>
      <p:grpSp>
        <p:nvGrpSpPr>
          <p:cNvPr id="44" name="群組 43"/>
          <p:cNvGrpSpPr/>
          <p:nvPr/>
        </p:nvGrpSpPr>
        <p:grpSpPr>
          <a:xfrm>
            <a:off x="8027142" y="1836892"/>
            <a:ext cx="3176359" cy="4335308"/>
            <a:chOff x="12483091" y="2755338"/>
            <a:chExt cx="4764538" cy="6502962"/>
          </a:xfrm>
        </p:grpSpPr>
        <p:sp>
          <p:nvSpPr>
            <p:cNvPr id="3" name="AutoShape 3"/>
            <p:cNvSpPr/>
            <p:nvPr/>
          </p:nvSpPr>
          <p:spPr>
            <a:xfrm>
              <a:off x="12483091" y="2755338"/>
              <a:ext cx="4764538" cy="3570918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  <p:sp>
          <p:nvSpPr>
            <p:cNvPr id="4" name="TextBox 4"/>
            <p:cNvSpPr txBox="1"/>
            <p:nvPr/>
          </p:nvSpPr>
          <p:spPr>
            <a:xfrm>
              <a:off x="12702004" y="4598541"/>
              <a:ext cx="4261218" cy="3818835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302275" marR="0" lvl="1" indent="-151138" algn="just" defTabSz="609630" rtl="0" eaLnBrk="1" fontAlgn="auto" latinLnBrk="0" hangingPunct="1">
                <a:lnSpc>
                  <a:spcPts val="2667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歐盟產品在境內必須負擔減碳成本、出口則面對價格劣勢</a:t>
              </a:r>
            </a:p>
            <a:p>
              <a:pPr marL="302275" marR="0" lvl="1" indent="-151138" algn="just" defTabSz="609630" rtl="0" eaLnBrk="1" fontAlgn="auto" latinLnBrk="0" hangingPunct="1">
                <a:lnSpc>
                  <a:spcPts val="2667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/>
                <a:buChar char="•"/>
                <a:tabLst/>
                <a:defRPr/>
              </a:pPr>
              <a:r>
                <a:rPr kumimoji="0" lang="en-US" altLang="zh-TW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CBAM</a:t>
              </a:r>
              <a:r>
                <a:rPr kumimoji="0" lang="zh-TW" altLang="en-US" sz="1867" b="0" i="0" u="none" strike="noStrike" kern="1200" cap="none" spc="14" normalizeH="0" baseline="0" noProof="0" dirty="0">
                  <a:ln>
                    <a:noFill/>
                  </a:ln>
                  <a:solidFill>
                    <a:srgbClr val="171710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使進口產品價格反映碳定價、並針對歐盟出口產品給予調整（退稅）</a:t>
              </a:r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13467049" y="3304283"/>
              <a:ext cx="3511413" cy="103653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just" defTabSz="609630" rtl="0" eaLnBrk="1" fontAlgn="auto" latinLnBrk="0" hangingPunct="1">
                <a:lnSpc>
                  <a:spcPts val="279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133" b="1" i="0" u="none" strike="noStrike" kern="1200" cap="none" spc="93" normalizeH="0" baseline="0" noProof="0" dirty="0">
                  <a:ln>
                    <a:noFill/>
                  </a:ln>
                  <a:solidFill>
                    <a:srgbClr val="209097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維持歐盟產業之全球競爭公平性</a:t>
              </a:r>
              <a:endParaRPr kumimoji="0" lang="en-US" sz="2133" b="1" i="0" u="none" strike="noStrike" kern="1200" cap="none" spc="93" normalizeH="0" baseline="0" noProof="0" dirty="0">
                <a:ln>
                  <a:noFill/>
                </a:ln>
                <a:solidFill>
                  <a:srgbClr val="209097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pic>
          <p:nvPicPr>
            <p:cNvPr id="6" name="Picture 6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12717244" y="3333235"/>
              <a:ext cx="566875" cy="425156"/>
            </a:xfrm>
            <a:prstGeom prst="rect">
              <a:avLst/>
            </a:prstGeom>
          </p:spPr>
        </p:pic>
        <p:sp>
          <p:nvSpPr>
            <p:cNvPr id="25" name="AutoShape 25"/>
            <p:cNvSpPr/>
            <p:nvPr/>
          </p:nvSpPr>
          <p:spPr>
            <a:xfrm>
              <a:off x="12483091" y="6326257"/>
              <a:ext cx="4764538" cy="2932043"/>
            </a:xfrm>
            <a:prstGeom prst="rect">
              <a:avLst/>
            </a:prstGeom>
            <a:solidFill>
              <a:srgbClr val="171710">
                <a:alpha val="4706"/>
              </a:srgbClr>
            </a:solidFill>
          </p:spPr>
        </p:sp>
      </p:grpSp>
      <p:sp>
        <p:nvSpPr>
          <p:cNvPr id="29" name="TextBox 29"/>
          <p:cNvSpPr txBox="1"/>
          <p:nvPr/>
        </p:nvSpPr>
        <p:spPr>
          <a:xfrm>
            <a:off x="685800" y="651628"/>
            <a:ext cx="9244397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667" b="1" i="0" u="none" strike="noStrike" kern="1200" cap="none" spc="219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歐盟實施</a:t>
            </a:r>
            <a:r>
              <a:rPr kumimoji="0" lang="en-US" altLang="zh-TW" sz="3667" b="1" i="0" u="none" strike="noStrike" kern="1200" cap="none" spc="219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3667" b="1" i="0" u="none" strike="noStrike" kern="1200" cap="none" spc="219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之理由</a:t>
            </a:r>
            <a:endParaRPr kumimoji="0" lang="en-US" sz="3667" b="1" i="0" u="none" strike="noStrike" kern="1200" cap="none" spc="219" normalizeH="0" baseline="0" noProof="0" dirty="0">
              <a:ln>
                <a:noFill/>
              </a:ln>
              <a:solidFill>
                <a:srgbClr val="171710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23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marL="0" marR="0" lvl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66527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211377" y="299162"/>
            <a:ext cx="6700477" cy="6259678"/>
          </a:xfrm>
          <a:prstGeom prst="rect">
            <a:avLst/>
          </a:prstGeom>
          <a:solidFill>
            <a:srgbClr val="171710">
              <a:alpha val="4706"/>
            </a:srgbClr>
          </a:solidFill>
        </p:spPr>
      </p:sp>
      <p:sp>
        <p:nvSpPr>
          <p:cNvPr id="7" name="TextBox 7"/>
          <p:cNvSpPr txBox="1"/>
          <p:nvPr/>
        </p:nvSpPr>
        <p:spPr>
          <a:xfrm>
            <a:off x="6077488" y="584200"/>
            <a:ext cx="5428713" cy="60593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3600" b="1" i="0" u="none" strike="noStrike" kern="1200" cap="none" spc="43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Aileron Heavy Bold"/>
                <a:cs typeface="Arial" panose="020B0604020202020204" pitchFamily="34" charset="0"/>
              </a:rPr>
              <a:t>CBAM</a:t>
            </a:r>
            <a:r>
              <a:rPr kumimoji="0" lang="zh-TW" altLang="en-US" sz="3600" b="1" i="0" u="none" strike="noStrike" kern="1200" cap="none" spc="43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rPr>
              <a:t>主要內容和時程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6070769" y="1765479"/>
            <a:ext cx="5428715" cy="45193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歐盟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19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2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通過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《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綠色新政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》</a:t>
            </a:r>
          </a:p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0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分別進行經濟影響評估和公眾諮詢；且就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和五、六十個國家進行雙邊諮商</a:t>
            </a:r>
          </a:p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7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4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公布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草案，其中就涵蓋產品項目（水泥、肥料、鋼鐵、鋁、進口電力等產品 ）、產品碳含量的認定方式、以及進口產品申報方法、驗證方法、以及相關罰則皆有規定</a:t>
            </a:r>
          </a:p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預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3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生效，經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3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過渡期後，於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7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全面實施。</a:t>
            </a:r>
          </a:p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3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～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5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，進口商應於每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5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月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31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日前申報前一年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相關資訊（進口量以公噸計算、進口產品碳含量以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O2e/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公噸表示）。</a:t>
            </a:r>
          </a:p>
          <a:p>
            <a:pPr marL="460610" marR="0" lvl="1" indent="-230305" algn="l" defTabSz="609630" rtl="0" eaLnBrk="1" fontAlgn="auto" latinLnBrk="0" hangingPunct="1">
              <a:lnSpc>
                <a:spcPts val="2133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6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起，進口商扣除已於出口國繳納費用，以及享有之免費排放額度，必須購足</a:t>
            </a:r>
            <a:r>
              <a:rPr kumimoji="0" lang="en-US" altLang="zh-TW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BAM</a:t>
            </a:r>
            <a:r>
              <a:rPr kumimoji="0" lang="zh-TW" altLang="en-US" sz="1600" b="0" i="0" u="none" strike="noStrike" kern="1200" cap="none" spc="21" normalizeH="0" baseline="0" noProof="0" dirty="0">
                <a:ln>
                  <a:noFill/>
                </a:ln>
                <a:solidFill>
                  <a:srgbClr val="171710"/>
                </a:solidFill>
                <a:effectLst/>
                <a:uLnTx/>
                <a:uFillTx/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憑證</a:t>
            </a:r>
          </a:p>
        </p:txBody>
      </p:sp>
      <p:sp>
        <p:nvSpPr>
          <p:cNvPr id="9" name="AutoShape 9"/>
          <p:cNvSpPr/>
          <p:nvPr/>
        </p:nvSpPr>
        <p:spPr>
          <a:xfrm>
            <a:off x="6627764" y="1394351"/>
            <a:ext cx="4328160" cy="0"/>
          </a:xfrm>
          <a:prstGeom prst="line">
            <a:avLst/>
          </a:prstGeom>
          <a:ln w="47625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12" name="圖片 11"/>
          <p:cNvPicPr>
            <a:picLocks noChangeAspect="1"/>
          </p:cNvPicPr>
          <p:nvPr/>
        </p:nvPicPr>
        <p:blipFill rotWithShape="1">
          <a:blip r:embed="rId2"/>
          <a:srcRect t="-239" r="25375"/>
          <a:stretch/>
        </p:blipFill>
        <p:spPr>
          <a:xfrm>
            <a:off x="-1219200" y="-76200"/>
            <a:ext cx="6787032" cy="6985000"/>
          </a:xfrm>
          <a:prstGeom prst="rect">
            <a:avLst/>
          </a:prstGeom>
        </p:spPr>
      </p:pic>
      <p:sp>
        <p:nvSpPr>
          <p:cNvPr id="10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marL="0" marR="0" lvl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91073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311838" y="2394662"/>
            <a:ext cx="11568325" cy="4164178"/>
          </a:xfrm>
          <a:prstGeom prst="rect">
            <a:avLst/>
          </a:prstGeom>
          <a:solidFill>
            <a:srgbClr val="171710">
              <a:alpha val="4706"/>
            </a:srgbClr>
          </a:solidFill>
        </p:spPr>
      </p:sp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 t="31909" b="31909"/>
          <a:stretch>
            <a:fillRect/>
          </a:stretch>
        </p:blipFill>
        <p:spPr>
          <a:xfrm>
            <a:off x="-141282" y="-144666"/>
            <a:ext cx="12474564" cy="3012791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685800" y="899983"/>
            <a:ext cx="4989125" cy="1100967"/>
            <a:chOff x="0" y="0"/>
            <a:chExt cx="9978250" cy="2201933"/>
          </a:xfrm>
        </p:grpSpPr>
        <p:sp>
          <p:nvSpPr>
            <p:cNvPr id="5" name="AutoShape 5"/>
            <p:cNvSpPr/>
            <p:nvPr/>
          </p:nvSpPr>
          <p:spPr>
            <a:xfrm>
              <a:off x="0" y="0"/>
              <a:ext cx="9978250" cy="2201933"/>
            </a:xfrm>
            <a:prstGeom prst="rect">
              <a:avLst/>
            </a:prstGeom>
            <a:solidFill>
              <a:srgbClr val="171710"/>
            </a:solidFill>
          </p:spPr>
        </p:sp>
        <p:sp>
          <p:nvSpPr>
            <p:cNvPr id="6" name="TextBox 6"/>
            <p:cNvSpPr txBox="1"/>
            <p:nvPr/>
          </p:nvSpPr>
          <p:spPr>
            <a:xfrm>
              <a:off x="598686" y="817094"/>
              <a:ext cx="8780878" cy="76944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marR="0" lvl="0" indent="0" algn="l" defTabSz="609630" rtl="0" eaLnBrk="1" fontAlgn="auto" latinLnBrk="0" hangingPunct="1">
                <a:lnSpc>
                  <a:spcPts val="304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TW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CBAM</a:t>
              </a:r>
              <a:r>
                <a:rPr kumimoji="0" lang="zh-TW" altLang="en-US" sz="3200" b="1" i="0" u="none" strike="noStrike" kern="1200" cap="none" spc="76" normalizeH="0" baseline="0" noProof="0" dirty="0">
                  <a:ln>
                    <a:noFill/>
                  </a:ln>
                  <a:solidFill>
                    <a:srgbClr val="F4F5F7"/>
                  </a:solidFill>
                  <a:effectLst/>
                  <a:uLnTx/>
                  <a:uFillTx/>
                  <a:latin typeface="Arial" panose="020B0604020202020204" pitchFamily="34" charset="0"/>
                  <a:ea typeface="微軟正黑體" panose="020B0604030504040204" pitchFamily="34" charset="-120"/>
                  <a:cs typeface="Arial" panose="020B0604020202020204" pitchFamily="34" charset="0"/>
                </a:rPr>
                <a:t>可能成本負擔</a:t>
              </a:r>
            </a:p>
          </p:txBody>
        </p:sp>
      </p:grpSp>
      <p:grpSp>
        <p:nvGrpSpPr>
          <p:cNvPr id="10" name="群組 5">
            <a:extLst>
              <a:ext uri="{FF2B5EF4-FFF2-40B4-BE49-F238E27FC236}">
                <a16:creationId xmlns:a16="http://schemas.microsoft.com/office/drawing/2014/main" id="{6604E212-CEBA-44FE-A4BF-388F5BE55B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27200" y="3175000"/>
            <a:ext cx="9181626" cy="3630085"/>
            <a:chOff x="1958145" y="1952184"/>
            <a:chExt cx="10109418" cy="3996147"/>
          </a:xfrm>
        </p:grpSpPr>
        <p:grpSp>
          <p:nvGrpSpPr>
            <p:cNvPr id="11" name="群組 6">
              <a:extLst>
                <a:ext uri="{FF2B5EF4-FFF2-40B4-BE49-F238E27FC236}">
                  <a16:creationId xmlns:a16="http://schemas.microsoft.com/office/drawing/2014/main" id="{C56D28A6-252A-4488-B8B3-3F31BC3E14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58145" y="1952184"/>
              <a:ext cx="10109418" cy="3996147"/>
              <a:chOff x="1958145" y="1952184"/>
              <a:chExt cx="10109418" cy="3996147"/>
            </a:xfrm>
          </p:grpSpPr>
          <p:grpSp>
            <p:nvGrpSpPr>
              <p:cNvPr id="13" name="群組 8">
                <a:extLst>
                  <a:ext uri="{FF2B5EF4-FFF2-40B4-BE49-F238E27FC236}">
                    <a16:creationId xmlns:a16="http://schemas.microsoft.com/office/drawing/2014/main" id="{8A929137-F855-4599-B919-293C73B1FBF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58145" y="1952184"/>
                <a:ext cx="8949324" cy="3996147"/>
                <a:chOff x="237212" y="978984"/>
                <a:chExt cx="8936213" cy="3990291"/>
              </a:xfrm>
            </p:grpSpPr>
            <p:sp>
              <p:nvSpPr>
                <p:cNvPr id="16" name="內容版面配置區 2">
                  <a:extLst>
                    <a:ext uri="{FF2B5EF4-FFF2-40B4-BE49-F238E27FC236}">
                      <a16:creationId xmlns:a16="http://schemas.microsoft.com/office/drawing/2014/main" id="{A5C822BD-7D36-4F40-BC89-5C725B0AC7C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37212" y="978984"/>
                  <a:ext cx="8263671" cy="3990291"/>
                </a:xfrm>
                <a:prstGeom prst="rect">
                  <a:avLst/>
                </a:prstGeom>
              </p:spPr>
              <p:txBody>
                <a:bodyPr lIns="82296" tIns="41148" rIns="82296" bIns="41148">
                  <a:normAutofit/>
                </a:bodyPr>
                <a:lstStyle>
                  <a:lvl1pPr marL="230188" indent="-230188" defTabSz="307975"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1pPr>
                  <a:lvl2pPr marL="741363" indent="-284163" defTabSz="307975"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2pPr>
                  <a:lvl3pPr marL="1141413" indent="-227013" defTabSz="307975"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3pPr>
                  <a:lvl4pPr marL="1598613" indent="-227013" defTabSz="307975"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4pPr>
                  <a:lvl5pPr marL="2055813" indent="-227013" defTabSz="307975"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5pPr>
                  <a:lvl6pPr marL="2513013" indent="-227013" defTabSz="307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6pPr>
                  <a:lvl7pPr marL="2970213" indent="-227013" defTabSz="307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7pPr>
                  <a:lvl8pPr marL="3427413" indent="-227013" defTabSz="307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8pPr>
                  <a:lvl9pPr marL="3884613" indent="-227013" defTabSz="307975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 panose="020B0604020202020204" pitchFamily="34" charset="0"/>
                    <a:defRPr sz="120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  <a:sym typeface="Arial" panose="020B0604020202020204" pitchFamily="34" charset="0"/>
                    </a:defRPr>
                  </a:lvl9pPr>
                </a:lstStyle>
                <a:p>
                  <a:pPr marL="153466" marR="0" lvl="0" indent="-153466" algn="l" defTabSz="205327" rtl="0" eaLnBrk="1" fontAlgn="auto" latinLnBrk="0" hangingPunct="1">
                    <a:lnSpc>
                      <a:spcPts val="2251"/>
                    </a:lnSpc>
                    <a:spcBef>
                      <a:spcPts val="533"/>
                    </a:spcBef>
                    <a:spcAft>
                      <a:spcPts val="533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altLang="zh-TW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  <a:sym typeface="Arial" panose="020B0604020202020204" pitchFamily="34" charset="0"/>
                    </a:rPr>
                    <a:t>CBAM</a:t>
                  </a:r>
                  <a:r>
                    <a:rPr kumimoji="0" lang="zh-TW" alt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0404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  <a:sym typeface="Arial" panose="020B0604020202020204" pitchFamily="34" charset="0"/>
                    </a:rPr>
                    <a:t>可能成本＝出口量＊產品單位生產含碳量＊</a:t>
                  </a:r>
                  <a:r>
                    <a:rPr kumimoji="0" lang="zh-TW" altLang="en-US" sz="2000" b="1" i="0" u="sng" strike="noStrike" kern="1200" cap="none" spc="0" normalizeH="0" baseline="0" noProof="0" dirty="0">
                      <a:ln>
                        <a:noFill/>
                      </a:ln>
                      <a:solidFill>
                        <a:srgbClr val="C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  <a:sym typeface="Arial" panose="020B0604020202020204" pitchFamily="34" charset="0"/>
                    </a:rPr>
                    <a:t>碳定價</a:t>
                  </a:r>
                  <a:endParaRPr kumimoji="0" lang="en-US" altLang="zh-TW" sz="20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ts val="2251"/>
                    </a:lnSpc>
                    <a:spcBef>
                      <a:spcPts val="533"/>
                    </a:spcBef>
                    <a:spcAft>
                      <a:spcPts val="533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altLang="zh-TW" sz="20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ts val="2251"/>
                    </a:lnSpc>
                    <a:spcBef>
                      <a:spcPts val="533"/>
                    </a:spcBef>
                    <a:spcAft>
                      <a:spcPts val="533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0" marR="0" lvl="0" indent="0" algn="l" defTabSz="205327" rtl="0" eaLnBrk="1" fontAlgn="auto" latinLnBrk="0" hangingPunct="1">
                    <a:lnSpc>
                      <a:spcPts val="2251"/>
                    </a:lnSpc>
                    <a:spcBef>
                      <a:spcPts val="533"/>
                    </a:spcBef>
                    <a:spcAft>
                      <a:spcPts val="533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altLang="zh-TW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ts val="2251"/>
                    </a:lnSpc>
                    <a:spcBef>
                      <a:spcPts val="533"/>
                    </a:spcBef>
                    <a:spcAft>
                      <a:spcPts val="533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zh-TW" altLang="en-US" sz="2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  <a:sym typeface="Arial" panose="020B0604020202020204" pitchFamily="34" charset="0"/>
                    </a:rPr>
                    <a:t>碳定價？</a:t>
                  </a:r>
                  <a:endParaRPr kumimoji="0" lang="en-US" altLang="zh-TW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  <a:p>
                  <a:pPr marL="153466" marR="0" lvl="0" indent="-153466" algn="l" defTabSz="205327" rtl="0" eaLnBrk="1" fontAlgn="auto" latinLnBrk="0" hangingPunct="1">
                    <a:lnSpc>
                      <a:spcPct val="150000"/>
                    </a:lnSpc>
                    <a:spcBef>
                      <a:spcPct val="200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zh-TW" sz="1733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7B0196BC-B172-4AF5-A2A2-CD79B60F0515}"/>
                    </a:ext>
                  </a:extLst>
                </p:cNvPr>
                <p:cNvSpPr/>
                <p:nvPr/>
              </p:nvSpPr>
              <p:spPr>
                <a:xfrm>
                  <a:off x="1552047" y="3368807"/>
                  <a:ext cx="2389972" cy="1007460"/>
                </a:xfrm>
                <a:prstGeom prst="rect">
                  <a:avLst/>
                </a:prstGeom>
                <a:solidFill>
                  <a:schemeClr val="accent6">
                    <a:lumMod val="7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0" marR="0" lvl="0" indent="0" algn="ctr" defTabSz="41147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TW" altLang="en-US" sz="1867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</a:rPr>
                    <a:t>外部成本</a:t>
                  </a:r>
                </a:p>
              </p:txBody>
            </p:sp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30734670-3DA2-4C18-92F5-21B95C8F21C8}"/>
                    </a:ext>
                  </a:extLst>
                </p:cNvPr>
                <p:cNvSpPr/>
                <p:nvPr/>
              </p:nvSpPr>
              <p:spPr>
                <a:xfrm>
                  <a:off x="4195676" y="3368807"/>
                  <a:ext cx="2389972" cy="1007460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1pPr>
                  <a:lvl2pPr marL="742950" indent="-28575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2pPr>
                  <a:lvl3pPr marL="11430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3pPr>
                  <a:lvl4pPr marL="16002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4pPr>
                  <a:lvl5pPr marL="20574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5pPr>
                  <a:lvl6pPr marL="25146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6pPr>
                  <a:lvl7pPr marL="29718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7pPr>
                  <a:lvl8pPr marL="34290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8pPr>
                  <a:lvl9pPr marL="38862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9pPr>
                </a:lstStyle>
                <a:p>
                  <a:pPr marL="0" marR="0" lvl="0" indent="0" algn="ctr" defTabSz="20532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TW" altLang="en-US" sz="1867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</a:rPr>
                    <a:t>碳稅</a:t>
                  </a:r>
                </a:p>
              </p:txBody>
            </p:sp>
            <p:sp>
              <p:nvSpPr>
                <p:cNvPr id="19" name="矩形 18">
                  <a:extLst>
                    <a:ext uri="{FF2B5EF4-FFF2-40B4-BE49-F238E27FC236}">
                      <a16:creationId xmlns:a16="http://schemas.microsoft.com/office/drawing/2014/main" id="{389CAAFE-07AE-444B-8B23-ADFDD9ABF7BE}"/>
                    </a:ext>
                  </a:extLst>
                </p:cNvPr>
                <p:cNvSpPr/>
                <p:nvPr/>
              </p:nvSpPr>
              <p:spPr>
                <a:xfrm>
                  <a:off x="6783453" y="3368807"/>
                  <a:ext cx="2389972" cy="1007460"/>
                </a:xfrm>
                <a:prstGeom prst="rect">
                  <a:avLst/>
                </a:prstGeom>
                <a:solidFill>
                  <a:schemeClr val="accent3">
                    <a:lumMod val="7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>
                  <a:lvl1pPr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1pPr>
                  <a:lvl2pPr marL="742950" indent="-28575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2pPr>
                  <a:lvl3pPr marL="11430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3pPr>
                  <a:lvl4pPr marL="16002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4pPr>
                  <a:lvl5pPr marL="2057400" indent="-228600" defTabSz="3079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5pPr>
                  <a:lvl6pPr marL="25146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6pPr>
                  <a:lvl7pPr marL="29718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7pPr>
                  <a:lvl8pPr marL="34290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8pPr>
                  <a:lvl9pPr marL="3886200" indent="-228600" defTabSz="307975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  <a:ea typeface="微軟正黑體" panose="020B0604030504040204" pitchFamily="34" charset="-120"/>
                    </a:defRPr>
                  </a:lvl9pPr>
                </a:lstStyle>
                <a:p>
                  <a:pPr marL="0" marR="0" lvl="0" indent="0" algn="ctr" defTabSz="20532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TW" altLang="en-US" sz="1867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</a:rPr>
                    <a:t>排放交易市場碳</a:t>
                  </a:r>
                  <a:endParaRPr kumimoji="0" lang="en-US" altLang="zh-TW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endParaRPr>
                </a:p>
                <a:p>
                  <a:pPr marL="0" marR="0" lvl="0" indent="0" algn="ctr" defTabSz="20532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zh-TW" altLang="en-US" sz="1867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微軟正黑體" panose="020B0604030504040204" pitchFamily="34" charset="-120"/>
                      <a:cs typeface="Arial" panose="020B0604020202020204" pitchFamily="34" charset="0"/>
                    </a:rPr>
                    <a:t>價格</a:t>
                  </a:r>
                </a:p>
              </p:txBody>
            </p:sp>
          </p:grpSp>
          <p:sp>
            <p:nvSpPr>
              <p:cNvPr id="14" name="文字方塊 13">
                <a:extLst>
                  <a:ext uri="{FF2B5EF4-FFF2-40B4-BE49-F238E27FC236}">
                    <a16:creationId xmlns:a16="http://schemas.microsoft.com/office/drawing/2014/main" id="{55132CF4-5C45-4B0C-867D-0D1C7A3C5E30}"/>
                  </a:ext>
                </a:extLst>
              </p:cNvPr>
              <p:cNvSpPr txBox="1"/>
              <p:nvPr/>
            </p:nvSpPr>
            <p:spPr>
              <a:xfrm>
                <a:off x="5727845" y="3090841"/>
                <a:ext cx="6339718" cy="694567"/>
              </a:xfrm>
              <a:prstGeom prst="rect">
                <a:avLst/>
              </a:prstGeom>
              <a:noFill/>
              <a:ln>
                <a:solidFill>
                  <a:srgbClr val="105D7C"/>
                </a:solidFill>
              </a:ln>
            </p:spPr>
            <p:txBody>
              <a:bodyPr wrap="square">
                <a:spAutoFit/>
              </a:bodyPr>
              <a:lstStyle>
                <a:lvl1pPr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1pPr>
                <a:lvl2pPr marL="742950" indent="-28575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2pPr>
                <a:lvl3pPr marL="11430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3pPr>
                <a:lvl4pPr marL="16002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4pPr>
                <a:lvl5pPr marL="20574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5pPr>
                <a:lvl6pPr marL="25146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6pPr>
                <a:lvl7pPr marL="29718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7pPr>
                <a:lvl8pPr marL="34290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8pPr>
                <a:lvl9pPr marL="38862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9pPr>
              </a:lstStyle>
              <a:p>
                <a:pPr marL="0" marR="0" lvl="0" indent="0" algn="just" defTabSz="205327" rtl="0" eaLnBrk="1" fontAlgn="auto" latinLnBrk="0" hangingPunct="1">
                  <a:lnSpc>
                    <a:spcPts val="2067"/>
                  </a:lnSpc>
                  <a:spcBef>
                    <a:spcPts val="533"/>
                  </a:spcBef>
                  <a:spcAft>
                    <a:spcPts val="533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是一種為溫室氣體排放量設定明確價格的機制，即以每噸二氧化碳當量（</a:t>
                </a:r>
                <a:r>
                  <a:rPr kumimoji="0" lang="en-US" altLang="zh-TW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tCO2</a:t>
                </a:r>
                <a:r>
                  <a:rPr kumimoji="0" lang="zh-TW" alt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0404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）為單位來表示碳的價格。</a:t>
                </a:r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D1A18661-F462-4F31-A381-B34873C2C5EA}"/>
                  </a:ext>
                </a:extLst>
              </p:cNvPr>
              <p:cNvSpPr/>
              <p:nvPr/>
            </p:nvSpPr>
            <p:spPr>
              <a:xfrm>
                <a:off x="5652073" y="2297041"/>
                <a:ext cx="2554286" cy="3952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lvl1pPr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1pPr>
                <a:lvl2pPr marL="742950" indent="-28575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2pPr>
                <a:lvl3pPr marL="11430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3pPr>
                <a:lvl4pPr marL="16002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4pPr>
                <a:lvl5pPr marL="2057400" indent="-228600" defTabSz="307975"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5pPr>
                <a:lvl6pPr marL="25146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6pPr>
                <a:lvl7pPr marL="29718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7pPr>
                <a:lvl8pPr marL="34290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8pPr>
                <a:lvl9pPr marL="3886200" indent="-228600" defTabSz="30797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微軟正黑體" panose="020B0604030504040204" pitchFamily="34" charset="-120"/>
                  </a:defRPr>
                </a:lvl9pPr>
              </a:lstStyle>
              <a:p>
                <a:pPr marL="0" marR="0" lvl="0" indent="0" algn="l" defTabSz="20532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1733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（</a:t>
                </a:r>
                <a:r>
                  <a:rPr kumimoji="0" lang="en-US" altLang="zh-TW" sz="1733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=</a:t>
                </a:r>
                <a:r>
                  <a:rPr kumimoji="0" lang="zh-TW" altLang="en-US" sz="1733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軟正黑體" panose="020B0604030504040204" pitchFamily="34" charset="-120"/>
                    <a:cs typeface="Arial" panose="020B0604020202020204" pitchFamily="34" charset="0"/>
                  </a:rPr>
                  <a:t>排碳量／生產量）</a:t>
                </a:r>
              </a:p>
            </p:txBody>
          </p:sp>
        </p:grpSp>
        <p:cxnSp>
          <p:nvCxnSpPr>
            <p:cNvPr id="12" name="直線單箭頭接點 7">
              <a:extLst>
                <a:ext uri="{FF2B5EF4-FFF2-40B4-BE49-F238E27FC236}">
                  <a16:creationId xmlns:a16="http://schemas.microsoft.com/office/drawing/2014/main" id="{4614815A-9525-4A1D-BE87-67D8A029BA5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37938" y="2458589"/>
              <a:ext cx="0" cy="396303"/>
            </a:xfrm>
            <a:prstGeom prst="straightConnector1">
              <a:avLst/>
            </a:prstGeom>
            <a:noFill/>
            <a:ln w="38100" algn="ctr">
              <a:solidFill>
                <a:srgbClr val="1F497D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0" name="投影片編號版面配置區 6">
            <a:extLst>
              <a:ext uri="{FF2B5EF4-FFF2-40B4-BE49-F238E27FC236}">
                <a16:creationId xmlns:a16="http://schemas.microsoft.com/office/drawing/2014/main" id="{582B483B-094A-468C-90C1-B5CEF9165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TW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新細明體" panose="02020500000000000000" pitchFamily="18" charset="-12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marL="0" marR="0" lvl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70173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rcRect l="40638" r="40638"/>
          <a:stretch>
            <a:fillRect/>
          </a:stretch>
        </p:blipFill>
        <p:spPr>
          <a:xfrm>
            <a:off x="0" y="-61993"/>
            <a:ext cx="1933259" cy="6858000"/>
          </a:xfrm>
          <a:prstGeom prst="rect">
            <a:avLst/>
          </a:prstGeom>
        </p:spPr>
      </p:pic>
      <p:sp>
        <p:nvSpPr>
          <p:cNvPr id="4" name="TextBox 4"/>
          <p:cNvSpPr txBox="1"/>
          <p:nvPr/>
        </p:nvSpPr>
        <p:spPr>
          <a:xfrm>
            <a:off x="4267201" y="475596"/>
            <a:ext cx="4727827" cy="598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120"/>
              </a:lnSpc>
            </a:pPr>
            <a:r>
              <a:rPr lang="zh-TW" altLang="en-US" sz="3667" b="1" dirty="0">
                <a:solidFill>
                  <a:srgbClr val="35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綠色供應鏈的內涵</a:t>
            </a:r>
            <a:endParaRPr lang="en-US" sz="3667" b="1" dirty="0">
              <a:solidFill>
                <a:srgbClr val="353333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2459567" y="1447800"/>
            <a:ext cx="9067800" cy="7834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800"/>
              </a:lnSpc>
            </a:pPr>
            <a:r>
              <a:rPr lang="zh-TW" altLang="en-US" sz="2133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較過去傳統供應鏈的管理，必須就生產供應鏈各個環節提升環境表現，包括：綠色採購、環境化設計、供應商管理、產品回收、環境績效評估等。</a:t>
            </a: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6067" y="2362200"/>
            <a:ext cx="9194800" cy="3821893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8229600" y="6345765"/>
            <a:ext cx="35125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圖片來源：綠色供應鏈概論（</a:t>
            </a:r>
            <a:r>
              <a:rPr lang="en-US" altLang="zh-TW" sz="16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19</a:t>
            </a:r>
            <a:r>
              <a:rPr lang="zh-TW" altLang="en-US" sz="1600" dirty="0"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）</a:t>
            </a:r>
            <a:endParaRPr lang="en-US" altLang="zh-TW" sz="1600" dirty="0"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圖片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320" y="-3869282"/>
            <a:ext cx="12466320" cy="6699250"/>
          </a:xfrm>
          <a:prstGeom prst="rect">
            <a:avLst/>
          </a:prstGeom>
        </p:spPr>
      </p:pic>
      <p:sp>
        <p:nvSpPr>
          <p:cNvPr id="2" name="AutoShape 2"/>
          <p:cNvSpPr/>
          <p:nvPr/>
        </p:nvSpPr>
        <p:spPr>
          <a:xfrm>
            <a:off x="428678" y="2371439"/>
            <a:ext cx="11356923" cy="4164178"/>
          </a:xfrm>
          <a:prstGeom prst="rect">
            <a:avLst/>
          </a:prstGeom>
          <a:solidFill>
            <a:srgbClr val="171710">
              <a:alpha val="4706"/>
            </a:srgbClr>
          </a:solidFill>
        </p:spPr>
        <p:txBody>
          <a:bodyPr/>
          <a:lstStyle/>
          <a:p>
            <a:endParaRPr lang="zh-TW" altLang="en-US" sz="1200" dirty="0">
              <a:ea typeface="微軟正黑體" panose="020B0604030504040204" pitchFamily="34" charset="-120"/>
            </a:endParaRPr>
          </a:p>
        </p:txBody>
      </p:sp>
      <p:grpSp>
        <p:nvGrpSpPr>
          <p:cNvPr id="17" name="Group 4"/>
          <p:cNvGrpSpPr/>
          <p:nvPr/>
        </p:nvGrpSpPr>
        <p:grpSpPr>
          <a:xfrm>
            <a:off x="965200" y="782490"/>
            <a:ext cx="5259560" cy="1330397"/>
            <a:chOff x="125452" y="-699562"/>
            <a:chExt cx="3821945" cy="2660795"/>
          </a:xfrm>
        </p:grpSpPr>
        <p:sp>
          <p:nvSpPr>
            <p:cNvPr id="18" name="AutoShape 5"/>
            <p:cNvSpPr/>
            <p:nvPr/>
          </p:nvSpPr>
          <p:spPr>
            <a:xfrm>
              <a:off x="125452" y="-699562"/>
              <a:ext cx="3821945" cy="2660795"/>
            </a:xfrm>
            <a:prstGeom prst="rect">
              <a:avLst/>
            </a:prstGeom>
            <a:solidFill>
              <a:srgbClr val="171710"/>
            </a:solidFill>
          </p:spPr>
        </p:sp>
        <p:sp>
          <p:nvSpPr>
            <p:cNvPr id="19" name="TextBox 6"/>
            <p:cNvSpPr txBox="1"/>
            <p:nvPr/>
          </p:nvSpPr>
          <p:spPr>
            <a:xfrm>
              <a:off x="324593" y="-514778"/>
              <a:ext cx="3529239" cy="220817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4480"/>
                </a:lnSpc>
              </a:pPr>
              <a:r>
                <a:rPr lang="zh-TW" altLang="en-US" sz="3200" b="1" spc="112" dirty="0">
                  <a:solidFill>
                    <a:srgbClr val="F4F5F7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綠色供應鏈下，對供應商要求的可能項目</a:t>
              </a:r>
              <a:endParaRPr lang="en-US" sz="3200" b="1" spc="112" dirty="0">
                <a:solidFill>
                  <a:srgbClr val="F4F5F7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4" name="群組 3"/>
          <p:cNvGrpSpPr/>
          <p:nvPr/>
        </p:nvGrpSpPr>
        <p:grpSpPr>
          <a:xfrm>
            <a:off x="1574801" y="3296153"/>
            <a:ext cx="12523959" cy="2748701"/>
            <a:chOff x="2626261" y="4959404"/>
            <a:chExt cx="18785939" cy="4123053"/>
          </a:xfrm>
        </p:grpSpPr>
        <p:sp>
          <p:nvSpPr>
            <p:cNvPr id="9" name="TextBox 4"/>
            <p:cNvSpPr txBox="1"/>
            <p:nvPr/>
          </p:nvSpPr>
          <p:spPr>
            <a:xfrm>
              <a:off x="9601200" y="4959404"/>
              <a:ext cx="11811000" cy="3411319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設計彈性的資源能源使用模式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強化運送的碳抵換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建造綠色廠房與綠建築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重新設計物流網絡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採用能資耗消耗較低的新科技</a:t>
              </a:r>
            </a:p>
          </p:txBody>
        </p:sp>
        <p:sp>
          <p:nvSpPr>
            <p:cNvPr id="10" name="TextBox 4"/>
            <p:cNvSpPr txBox="1"/>
            <p:nvPr/>
          </p:nvSpPr>
          <p:spPr>
            <a:xfrm>
              <a:off x="2626261" y="4959404"/>
              <a:ext cx="11811000" cy="412305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改善能源效率或使用替代能源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使用可重複使用的容器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減少包裝材或提高資源回收性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配送路線最佳化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從事碳排放管理</a:t>
              </a:r>
            </a:p>
            <a:p>
              <a:pPr marL="417004" indent="-417004">
                <a:lnSpc>
                  <a:spcPts val="3334"/>
                </a:lnSpc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zh-TW" altLang="en-US" sz="2000" b="1" spc="192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提升溝通效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038493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/>
        </p:nvPicPr>
        <p:blipFill>
          <a:blip r:embed="rId2"/>
          <a:srcRect l="19990" r="19990"/>
          <a:stretch>
            <a:fillRect/>
          </a:stretch>
        </p:blipFill>
        <p:spPr>
          <a:xfrm>
            <a:off x="-255118" y="-52068"/>
            <a:ext cx="5466495" cy="7083662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49577" y="1092521"/>
            <a:ext cx="5112222" cy="1279964"/>
            <a:chOff x="-1221967" y="169280"/>
            <a:chExt cx="10224445" cy="2125873"/>
          </a:xfrm>
        </p:grpSpPr>
        <p:sp>
          <p:nvSpPr>
            <p:cNvPr id="5" name="AutoShape 5"/>
            <p:cNvSpPr/>
            <p:nvPr/>
          </p:nvSpPr>
          <p:spPr>
            <a:xfrm>
              <a:off x="-1221967" y="169280"/>
              <a:ext cx="9714209" cy="2125873"/>
            </a:xfrm>
            <a:prstGeom prst="rect">
              <a:avLst/>
            </a:prstGeom>
            <a:solidFill>
              <a:srgbClr val="171710"/>
            </a:solidFill>
          </p:spPr>
        </p:sp>
        <p:sp>
          <p:nvSpPr>
            <p:cNvPr id="6" name="TextBox 6"/>
            <p:cNvSpPr txBox="1"/>
            <p:nvPr/>
          </p:nvSpPr>
          <p:spPr>
            <a:xfrm>
              <a:off x="-528461" y="233154"/>
              <a:ext cx="9530939" cy="183375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4480"/>
                </a:lnSpc>
              </a:pPr>
              <a:r>
                <a:rPr lang="zh-TW" altLang="en-US" sz="3200" b="1" spc="112" dirty="0">
                  <a:solidFill>
                    <a:srgbClr val="F4F5F7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溫室氣體排放範疇與</a:t>
              </a:r>
              <a:endParaRPr lang="en-US" altLang="zh-TW" sz="3200" b="1" spc="112" dirty="0">
                <a:solidFill>
                  <a:srgbClr val="F4F5F7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>
                <a:lnSpc>
                  <a:spcPts val="4480"/>
                </a:lnSpc>
              </a:pPr>
              <a:r>
                <a:rPr lang="zh-TW" altLang="en-US" sz="3200" b="1" spc="112" dirty="0">
                  <a:solidFill>
                    <a:srgbClr val="F4F5F7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綠色供應鏈的可能關係</a:t>
              </a:r>
              <a:endParaRPr lang="en-US" sz="3200" b="1" spc="112" dirty="0">
                <a:solidFill>
                  <a:srgbClr val="F4F5F7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14" name="TextBox 7"/>
          <p:cNvSpPr txBox="1"/>
          <p:nvPr/>
        </p:nvSpPr>
        <p:spPr>
          <a:xfrm>
            <a:off x="5466496" y="525826"/>
            <a:ext cx="6314549" cy="18117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17" indent="-342917" algn="just">
              <a:lnSpc>
                <a:spcPts val="28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TW" altLang="en-US" sz="1867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企業在供應鏈碳排放量（範疇三）遠高於企業本身營運排放量，平均為範疇一及範疇二</a:t>
            </a:r>
            <a:r>
              <a:rPr lang="en-US" altLang="zh-TW" sz="1867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1.4</a:t>
            </a:r>
            <a:r>
              <a:rPr lang="zh-TW" altLang="en-US" sz="1867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倍。</a:t>
            </a:r>
            <a:endParaRPr lang="en-US" altLang="zh-TW" sz="20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342917" indent="-342917">
              <a:lnSpc>
                <a:spcPts val="2800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zh-TW" altLang="en-US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食品、建築、時尚、快速消費品（</a:t>
            </a:r>
            <a:r>
              <a:rPr lang="en-US" altLang="zh-TW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Fast Moving Consumer Goods</a:t>
            </a:r>
            <a:r>
              <a:rPr lang="zh-TW" altLang="en-US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en-US" altLang="zh-TW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FMCG</a:t>
            </a:r>
            <a:r>
              <a:rPr lang="zh-TW" altLang="en-US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）、電子產品、汽車、專業服務和貨運等八大供應鏈碳排放量占全球總排放量</a:t>
            </a:r>
            <a:r>
              <a:rPr lang="en-US" altLang="zh-TW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0%</a:t>
            </a:r>
            <a:r>
              <a:rPr lang="zh-TW" altLang="en-US" sz="1867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上。</a:t>
            </a:r>
            <a:endParaRPr lang="en-US" altLang="zh-TW" sz="1867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9" name="群組 8"/>
          <p:cNvGrpSpPr/>
          <p:nvPr/>
        </p:nvGrpSpPr>
        <p:grpSpPr>
          <a:xfrm>
            <a:off x="5560594" y="2768601"/>
            <a:ext cx="6369697" cy="3559851"/>
            <a:chOff x="8233268" y="4535004"/>
            <a:chExt cx="9677400" cy="5475897"/>
          </a:xfrm>
        </p:grpSpPr>
        <p:pic>
          <p:nvPicPr>
            <p:cNvPr id="8" name="內容版面配置區 9">
              <a:extLst>
                <a:ext uri="{FF2B5EF4-FFF2-40B4-BE49-F238E27FC236}">
                  <a16:creationId xmlns:a16="http://schemas.microsoft.com/office/drawing/2014/main" id="{808ACC68-4733-4D4C-9454-2B4681409435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3268" y="4535004"/>
              <a:ext cx="9677400" cy="5475897"/>
            </a:xfrm>
            <a:prstGeom prst="rect">
              <a:avLst/>
            </a:prstGeom>
            <a:noFill/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</p:pic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A027F5EA-4126-44B9-A381-95EEC1CB10BA}"/>
                </a:ext>
              </a:extLst>
            </p:cNvPr>
            <p:cNvSpPr/>
            <p:nvPr/>
          </p:nvSpPr>
          <p:spPr>
            <a:xfrm>
              <a:off x="8457632" y="4573105"/>
              <a:ext cx="9365509" cy="615464"/>
            </a:xfrm>
            <a:prstGeom prst="rect">
              <a:avLst/>
            </a:prstGeom>
            <a:solidFill>
              <a:srgbClr val="F6F6F6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TW" altLang="en-US" sz="2000" b="1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同產業之排放範疇比較</a:t>
              </a:r>
            </a:p>
          </p:txBody>
        </p:sp>
      </p:grpSp>
      <p:sp>
        <p:nvSpPr>
          <p:cNvPr id="12" name="矩形 11">
            <a:extLst>
              <a:ext uri="{FF2B5EF4-FFF2-40B4-BE49-F238E27FC236}">
                <a16:creationId xmlns:a16="http://schemas.microsoft.com/office/drawing/2014/main" id="{3BBCB145-7BA5-4B85-A8F3-3F4F6263B2B7}"/>
              </a:ext>
            </a:extLst>
          </p:cNvPr>
          <p:cNvSpPr/>
          <p:nvPr/>
        </p:nvSpPr>
        <p:spPr>
          <a:xfrm>
            <a:off x="5443917" y="6419611"/>
            <a:ext cx="65421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圖片</a:t>
            </a:r>
            <a:r>
              <a:rPr lang="zh-TW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來源：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Net-Zero </a:t>
            </a:r>
            <a:r>
              <a:rPr lang="en-US" altLang="zh-TW" sz="1600" dirty="0" err="1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Challenge:The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 supply chain opportunity</a:t>
            </a:r>
            <a:r>
              <a:rPr lang="zh-TW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（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21</a:t>
            </a:r>
            <a:r>
              <a:rPr lang="zh-TW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）</a:t>
            </a:r>
            <a:endParaRPr lang="zh-TW" altLang="en-US" sz="16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49" name="圖片 4">
            <a:extLst>
              <a:ext uri="{FF2B5EF4-FFF2-40B4-BE49-F238E27FC236}">
                <a16:creationId xmlns:a16="http://schemas.microsoft.com/office/drawing/2014/main" id="{F5C8819A-0725-4A5D-9939-2E0D6EC78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2617" y="-821266"/>
            <a:ext cx="12384617" cy="885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0" name="標題 1">
            <a:extLst>
              <a:ext uri="{FF2B5EF4-FFF2-40B4-BE49-F238E27FC236}">
                <a16:creationId xmlns:a16="http://schemas.microsoft.com/office/drawing/2014/main" id="{E035FED3-1DBD-4310-960E-61619C72F95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226485"/>
            <a:ext cx="10515600" cy="1325033"/>
          </a:xfrm>
        </p:spPr>
        <p:txBody>
          <a:bodyPr/>
          <a:lstStyle/>
          <a:p>
            <a:r>
              <a:rPr lang="en-US" altLang="zh-TW"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CC</a:t>
            </a:r>
            <a:r>
              <a:rPr lang="zh-TW" altLang="en-US"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第六次評估報告（</a:t>
            </a:r>
            <a:r>
              <a:rPr lang="en-US" altLang="zh-TW"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6</a:t>
            </a:r>
            <a:r>
              <a:rPr lang="zh-TW" altLang="en-US"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）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39C063D-6449-498A-8C00-F5E49D036C3E}"/>
              </a:ext>
            </a:extLst>
          </p:cNvPr>
          <p:cNvSpPr/>
          <p:nvPr/>
        </p:nvSpPr>
        <p:spPr>
          <a:xfrm>
            <a:off x="539752" y="1551518"/>
            <a:ext cx="10814049" cy="3473449"/>
          </a:xfrm>
          <a:prstGeom prst="rect">
            <a:avLst/>
          </a:prstGeom>
          <a:solidFill>
            <a:srgbClr val="C00000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54">
              <a:defRPr/>
            </a:pPr>
            <a:endParaRPr lang="zh-TW" altLang="en-US" dirty="0">
              <a:solidFill>
                <a:prstClr val="white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852" name="內容版面配置區 2">
            <a:extLst>
              <a:ext uri="{FF2B5EF4-FFF2-40B4-BE49-F238E27FC236}">
                <a16:creationId xmlns:a16="http://schemas.microsoft.com/office/drawing/2014/main" id="{C9476BAD-4666-441A-88B2-E0230C09B53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838200" y="1805518"/>
            <a:ext cx="9042400" cy="4150783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83626" indent="-283626" algn="just" defTabSz="455073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</a:pPr>
            <a:r>
              <a:rPr lang="zh-TW" altLang="en-US" sz="2133" b="1">
                <a:solidFill>
                  <a:schemeClr val="bg1"/>
                </a:solidFill>
              </a:rPr>
              <a:t>相比</a:t>
            </a:r>
            <a:r>
              <a:rPr lang="en-US" altLang="zh-TW" sz="2133" b="1">
                <a:solidFill>
                  <a:schemeClr val="bg1"/>
                </a:solidFill>
              </a:rPr>
              <a:t>1850</a:t>
            </a:r>
            <a:r>
              <a:rPr lang="zh-TW" altLang="en-US" sz="2133" b="1">
                <a:solidFill>
                  <a:schemeClr val="bg1"/>
                </a:solidFill>
              </a:rPr>
              <a:t>年至</a:t>
            </a:r>
            <a:r>
              <a:rPr lang="en-US" altLang="zh-TW" sz="2133" b="1">
                <a:solidFill>
                  <a:schemeClr val="bg1"/>
                </a:solidFill>
              </a:rPr>
              <a:t>1900</a:t>
            </a:r>
            <a:r>
              <a:rPr lang="zh-TW" altLang="en-US" sz="2133" b="1">
                <a:solidFill>
                  <a:schemeClr val="bg1"/>
                </a:solidFill>
              </a:rPr>
              <a:t>年的全球溫度，</a:t>
            </a:r>
            <a:r>
              <a:rPr lang="en-US" altLang="zh-TW" sz="2133" b="1">
                <a:solidFill>
                  <a:schemeClr val="bg1"/>
                </a:solidFill>
              </a:rPr>
              <a:t>2011</a:t>
            </a:r>
            <a:r>
              <a:rPr lang="zh-TW" altLang="en-US" sz="2133" b="1">
                <a:solidFill>
                  <a:schemeClr val="bg1"/>
                </a:solidFill>
              </a:rPr>
              <a:t>年至</a:t>
            </a:r>
            <a:r>
              <a:rPr lang="en-US" altLang="zh-TW" sz="2133" b="1">
                <a:solidFill>
                  <a:schemeClr val="bg1"/>
                </a:solidFill>
              </a:rPr>
              <a:t>2020</a:t>
            </a:r>
            <a:r>
              <a:rPr lang="zh-TW" altLang="en-US" sz="2133" b="1">
                <a:solidFill>
                  <a:schemeClr val="bg1"/>
                </a:solidFill>
              </a:rPr>
              <a:t>年的全球溫度上升了</a:t>
            </a:r>
            <a:r>
              <a:rPr lang="en-US" altLang="zh-TW" sz="2133" b="1">
                <a:solidFill>
                  <a:schemeClr val="bg1"/>
                </a:solidFill>
              </a:rPr>
              <a:t>1.09℃</a:t>
            </a:r>
          </a:p>
          <a:p>
            <a:pPr marL="283626" indent="-283626" algn="just" defTabSz="455073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</a:pPr>
            <a:r>
              <a:rPr lang="zh-TW" altLang="en-US" sz="2133" b="1">
                <a:solidFill>
                  <a:schemeClr val="bg1"/>
                </a:solidFill>
              </a:rPr>
              <a:t>過去五年是</a:t>
            </a:r>
            <a:r>
              <a:rPr lang="en-US" altLang="zh-TW" sz="2133" b="1">
                <a:solidFill>
                  <a:schemeClr val="bg1"/>
                </a:solidFill>
              </a:rPr>
              <a:t>1850</a:t>
            </a:r>
            <a:r>
              <a:rPr lang="zh-TW" altLang="en-US" sz="2133" b="1">
                <a:solidFill>
                  <a:schemeClr val="bg1"/>
                </a:solidFill>
              </a:rPr>
              <a:t>年以來歷史氣溫最高的五年。</a:t>
            </a:r>
          </a:p>
          <a:p>
            <a:pPr marL="283626" indent="-283626" algn="just" defTabSz="455073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</a:pPr>
            <a:r>
              <a:rPr lang="zh-TW" altLang="en-US" sz="2133" b="1">
                <a:solidFill>
                  <a:schemeClr val="bg1"/>
                </a:solidFill>
              </a:rPr>
              <a:t>相較於</a:t>
            </a:r>
            <a:r>
              <a:rPr lang="en-US" altLang="zh-TW" sz="2133" b="1">
                <a:solidFill>
                  <a:schemeClr val="bg1"/>
                </a:solidFill>
              </a:rPr>
              <a:t>1901</a:t>
            </a:r>
            <a:r>
              <a:rPr lang="zh-TW" altLang="en-US" sz="2133" b="1">
                <a:solidFill>
                  <a:schemeClr val="bg1"/>
                </a:solidFill>
              </a:rPr>
              <a:t>年至</a:t>
            </a:r>
            <a:r>
              <a:rPr lang="en-US" altLang="zh-TW" sz="2133" b="1">
                <a:solidFill>
                  <a:schemeClr val="bg1"/>
                </a:solidFill>
              </a:rPr>
              <a:t>1971</a:t>
            </a:r>
            <a:r>
              <a:rPr lang="zh-TW" altLang="en-US" sz="2133" b="1">
                <a:solidFill>
                  <a:schemeClr val="bg1"/>
                </a:solidFill>
              </a:rPr>
              <a:t>年，海平面上升的速度翻了三倍。</a:t>
            </a:r>
            <a:endParaRPr lang="en-US" altLang="zh-TW" sz="2133" b="1">
              <a:solidFill>
                <a:schemeClr val="bg1"/>
              </a:solidFill>
            </a:endParaRPr>
          </a:p>
          <a:p>
            <a:pPr marL="283626" indent="-283626" algn="just" defTabSz="455073">
              <a:lnSpc>
                <a:spcPts val="2300"/>
              </a:lnSpc>
              <a:spcBef>
                <a:spcPts val="600"/>
              </a:spcBef>
              <a:spcAft>
                <a:spcPts val="600"/>
              </a:spcAft>
            </a:pPr>
            <a:r>
              <a:rPr lang="zh-TW" altLang="en-US" sz="2133" b="1">
                <a:solidFill>
                  <a:schemeClr val="bg1"/>
                </a:solidFill>
              </a:rPr>
              <a:t>在溫室氣體排放量最理想的情境下，</a:t>
            </a:r>
            <a:r>
              <a:rPr lang="en-US" altLang="zh-TW" sz="2133" b="1">
                <a:solidFill>
                  <a:schemeClr val="bg1"/>
                </a:solidFill>
              </a:rPr>
              <a:t>2021~2040</a:t>
            </a:r>
            <a:r>
              <a:rPr lang="zh-TW" altLang="en-US" sz="2133" b="1">
                <a:solidFill>
                  <a:schemeClr val="bg1"/>
                </a:solidFill>
              </a:rPr>
              <a:t>年全球升溫仍非常有可能突破</a:t>
            </a:r>
            <a:r>
              <a:rPr lang="en-US" altLang="zh-TW" sz="2133" b="1">
                <a:solidFill>
                  <a:schemeClr val="bg1"/>
                </a:solidFill>
              </a:rPr>
              <a:t>1.5</a:t>
            </a:r>
            <a:r>
              <a:rPr lang="zh-TW" altLang="en-US" sz="2133" b="1">
                <a:solidFill>
                  <a:schemeClr val="bg1"/>
                </a:solidFill>
              </a:rPr>
              <a:t>℃。</a:t>
            </a:r>
            <a:endParaRPr lang="en-US" altLang="zh-TW" sz="2133" b="1">
              <a:solidFill>
                <a:schemeClr val="bg1"/>
              </a:solidFill>
            </a:endParaRPr>
          </a:p>
        </p:txBody>
      </p:sp>
      <p:sp>
        <p:nvSpPr>
          <p:cNvPr id="78853" name="矩形 6">
            <a:extLst>
              <a:ext uri="{FF2B5EF4-FFF2-40B4-BE49-F238E27FC236}">
                <a16:creationId xmlns:a16="http://schemas.microsoft.com/office/drawing/2014/main" id="{39473EEF-DB78-48AB-9E7C-3E468DE84F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6734" y="4525434"/>
            <a:ext cx="378821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42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eaLnBrk="1" hangingPunct="1"/>
            <a:r>
              <a:rPr lang="zh-TW" altLang="en-US" sz="1200" b="1">
                <a:solidFill>
                  <a:srgbClr val="000000"/>
                </a:solidFill>
                <a:cs typeface="Arial" panose="020B0604020202020204" pitchFamily="34" charset="0"/>
              </a:rPr>
              <a:t>資料來源：台達基金會（</a:t>
            </a:r>
            <a:r>
              <a:rPr lang="en-US" altLang="zh-TW" sz="1200" b="1">
                <a:solidFill>
                  <a:srgbClr val="000000"/>
                </a:solidFill>
                <a:cs typeface="Arial" panose="020B0604020202020204" pitchFamily="34" charset="0"/>
              </a:rPr>
              <a:t>2021</a:t>
            </a:r>
            <a:r>
              <a:rPr lang="zh-TW" altLang="en-US" sz="1200" b="1">
                <a:solidFill>
                  <a:srgbClr val="000000"/>
                </a:solidFill>
                <a:cs typeface="Arial" panose="020B0604020202020204" pitchFamily="34" charset="0"/>
              </a:rPr>
              <a:t>）、天下雜誌（</a:t>
            </a:r>
            <a:r>
              <a:rPr lang="en-US" altLang="zh-TW" sz="1200" b="1">
                <a:solidFill>
                  <a:srgbClr val="000000"/>
                </a:solidFill>
                <a:cs typeface="Arial" panose="020B0604020202020204" pitchFamily="34" charset="0"/>
              </a:rPr>
              <a:t>2021</a:t>
            </a:r>
            <a:r>
              <a:rPr lang="zh-TW" altLang="en-US" sz="1200" b="1">
                <a:solidFill>
                  <a:srgbClr val="000000"/>
                </a:solidFill>
                <a:cs typeface="Arial" panose="020B0604020202020204" pitchFamily="34" charset="0"/>
              </a:rPr>
              <a:t>）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30A28C35-A448-4F69-9CD3-6AFAF360F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>
            <a:normAutofit/>
          </a:bodyPr>
          <a:lstStyle/>
          <a:p>
            <a:r>
              <a:rPr lang="zh-TW" altLang="en-US" sz="4000" dirty="0"/>
              <a:t>綠色供應鏈電子</a:t>
            </a:r>
            <a:r>
              <a:rPr lang="zh-TW" altLang="zh-TW" sz="4000" dirty="0"/>
              <a:t>業</a:t>
            </a:r>
            <a:r>
              <a:rPr lang="zh-TW" altLang="en-US" sz="4000" dirty="0"/>
              <a:t>案例</a:t>
            </a:r>
            <a:r>
              <a:rPr lang="en-US" altLang="zh-TW" sz="4000" dirty="0"/>
              <a:t>-Apple</a:t>
            </a:r>
            <a:endParaRPr lang="zh-TW" altLang="en-US" sz="4000" dirty="0"/>
          </a:p>
        </p:txBody>
      </p:sp>
      <p:pic>
        <p:nvPicPr>
          <p:cNvPr id="5" name="內容版面配置區 4">
            <a:extLst>
              <a:ext uri="{FF2B5EF4-FFF2-40B4-BE49-F238E27FC236}">
                <a16:creationId xmlns:a16="http://schemas.microsoft.com/office/drawing/2014/main" id="{D4C5396B-7391-3A6C-4178-1393DEDCA33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3193" r="2565"/>
          <a:stretch/>
        </p:blipFill>
        <p:spPr bwMode="auto">
          <a:xfrm>
            <a:off x="838200" y="2474222"/>
            <a:ext cx="4990684" cy="328669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13E5C119-A20C-43FF-2192-D112DDCF78C0}"/>
              </a:ext>
            </a:extLst>
          </p:cNvPr>
          <p:cNvSpPr txBox="1"/>
          <p:nvPr/>
        </p:nvSpPr>
        <p:spPr>
          <a:xfrm>
            <a:off x="838201" y="5760912"/>
            <a:ext cx="278172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dirty="0">
                <a:solidFill>
                  <a:prstClr val="black"/>
                </a:solidFill>
              </a:rPr>
              <a:t>資料來源：</a:t>
            </a:r>
            <a:r>
              <a:rPr lang="en-US" altLang="zh-TW" dirty="0">
                <a:solidFill>
                  <a:prstClr val="black"/>
                </a:solidFill>
              </a:rPr>
              <a:t>Apple</a:t>
            </a:r>
            <a:r>
              <a:rPr lang="zh-TW" altLang="en-US" dirty="0">
                <a:solidFill>
                  <a:prstClr val="black"/>
                </a:solidFill>
              </a:rPr>
              <a:t>（</a:t>
            </a:r>
            <a:r>
              <a:rPr lang="en-US" altLang="zh-TW" dirty="0">
                <a:solidFill>
                  <a:prstClr val="black"/>
                </a:solidFill>
              </a:rPr>
              <a:t>2020</a:t>
            </a:r>
            <a:r>
              <a:rPr lang="zh-TW" altLang="en-US" dirty="0">
                <a:solidFill>
                  <a:prstClr val="black"/>
                </a:solidFill>
              </a:rPr>
              <a:t>）</a:t>
            </a:r>
          </a:p>
        </p:txBody>
      </p:sp>
      <p:sp>
        <p:nvSpPr>
          <p:cNvPr id="14" name="文字方塊 13">
            <a:extLst>
              <a:ext uri="{FF2B5EF4-FFF2-40B4-BE49-F238E27FC236}">
                <a16:creationId xmlns:a16="http://schemas.microsoft.com/office/drawing/2014/main" id="{269FE081-5E04-58DD-F884-80B1048FC8E5}"/>
              </a:ext>
            </a:extLst>
          </p:cNvPr>
          <p:cNvSpPr txBox="1"/>
          <p:nvPr/>
        </p:nvSpPr>
        <p:spPr>
          <a:xfrm>
            <a:off x="717620" y="1632964"/>
            <a:ext cx="51112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17" indent="-342917">
              <a:buFont typeface="Arial" panose="020B0604020202020204" pitchFamily="34" charset="0"/>
              <a:buChar char="•"/>
            </a:pPr>
            <a:r>
              <a:rPr lang="en-US" altLang="zh-TW" sz="2400" dirty="0">
                <a:solidFill>
                  <a:prstClr val="black"/>
                </a:solidFill>
              </a:rPr>
              <a:t>Apple</a:t>
            </a:r>
            <a:r>
              <a:rPr lang="zh-TW" altLang="en-US" sz="2400" dirty="0">
                <a:solidFill>
                  <a:prstClr val="black"/>
                </a:solidFill>
              </a:rPr>
              <a:t>碳排放主要來自範疇三產品製造階段</a:t>
            </a:r>
          </a:p>
        </p:txBody>
      </p:sp>
      <p:graphicFrame>
        <p:nvGraphicFramePr>
          <p:cNvPr id="15" name="資料庫圖表 14">
            <a:extLst>
              <a:ext uri="{FF2B5EF4-FFF2-40B4-BE49-F238E27FC236}">
                <a16:creationId xmlns:a16="http://schemas.microsoft.com/office/drawing/2014/main" id="{C85E9A99-AF33-F627-C587-F47F4EBAD8DC}"/>
              </a:ext>
            </a:extLst>
          </p:cNvPr>
          <p:cNvGraphicFramePr/>
          <p:nvPr/>
        </p:nvGraphicFramePr>
        <p:xfrm>
          <a:off x="6096000" y="1743761"/>
          <a:ext cx="5700764" cy="27675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6" name="內容版面配置區 13">
            <a:extLst>
              <a:ext uri="{FF2B5EF4-FFF2-40B4-BE49-F238E27FC236}">
                <a16:creationId xmlns:a16="http://schemas.microsoft.com/office/drawing/2014/main" id="{B0A1D218-9D67-784E-15AC-9788C75F4F07}"/>
              </a:ext>
            </a:extLst>
          </p:cNvPr>
          <p:cNvSpPr txBox="1">
            <a:spLocks/>
          </p:cNvSpPr>
          <p:nvPr/>
        </p:nvSpPr>
        <p:spPr>
          <a:xfrm>
            <a:off x="9678714" y="1860530"/>
            <a:ext cx="2330871" cy="5232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通過</a:t>
            </a:r>
            <a:r>
              <a:rPr lang="en-US" altLang="zh-TW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SBTi</a:t>
            </a:r>
            <a:r>
              <a:rPr lang="zh-TW" altLang="en-US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認可</a:t>
            </a:r>
          </a:p>
        </p:txBody>
      </p: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B023EBDA-102A-91A8-515A-627100BE5930}"/>
              </a:ext>
            </a:extLst>
          </p:cNvPr>
          <p:cNvSpPr txBox="1"/>
          <p:nvPr/>
        </p:nvSpPr>
        <p:spPr>
          <a:xfrm>
            <a:off x="10030160" y="1337310"/>
            <a:ext cx="16279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28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減碳目標</a:t>
            </a:r>
          </a:p>
        </p:txBody>
      </p:sp>
      <p:sp>
        <p:nvSpPr>
          <p:cNvPr id="21" name="文字方塊 20">
            <a:extLst>
              <a:ext uri="{FF2B5EF4-FFF2-40B4-BE49-F238E27FC236}">
                <a16:creationId xmlns:a16="http://schemas.microsoft.com/office/drawing/2014/main" id="{AB579BC4-2C5F-CDD6-CA88-C740B098D58A}"/>
              </a:ext>
            </a:extLst>
          </p:cNvPr>
          <p:cNvSpPr txBox="1"/>
          <p:nvPr/>
        </p:nvSpPr>
        <p:spPr>
          <a:xfrm>
            <a:off x="6529750" y="4708279"/>
            <a:ext cx="5463792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dirty="0">
                <a:solidFill>
                  <a:prstClr val="black"/>
                </a:solidFill>
              </a:rPr>
              <a:t>減碳策略：</a:t>
            </a:r>
            <a:endParaRPr lang="en-US" altLang="zh-TW" dirty="0">
              <a:solidFill>
                <a:prstClr val="black"/>
              </a:solidFill>
            </a:endParaRPr>
          </a:p>
          <a:p>
            <a:pPr marL="285764" indent="-285764">
              <a:buFont typeface="Arial" panose="020B0604020202020204" pitchFamily="34" charset="0"/>
              <a:buChar char="•"/>
            </a:pPr>
            <a:r>
              <a:rPr lang="en-US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Apple</a:t>
            </a:r>
            <a:r>
              <a:rPr lang="zh-TW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遵守「負責任的物料閉環採購方法」</a:t>
            </a:r>
            <a:endParaRPr lang="en-US" altLang="zh-TW" sz="2000" dirty="0">
              <a:solidFill>
                <a:prstClr val="black"/>
              </a:solidFill>
              <a:latin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285764" indent="-285764">
              <a:buFont typeface="Arial" panose="020B0604020202020204" pitchFamily="34" charset="0"/>
              <a:buChar char="•"/>
            </a:pPr>
            <a:r>
              <a:rPr lang="zh-TW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《</a:t>
            </a:r>
            <a:r>
              <a:rPr lang="en-US" altLang="zh-TW" sz="2000" dirty="0">
                <a:solidFill>
                  <a:prstClr val="black"/>
                </a:solidFill>
                <a:latin typeface="微軟正黑體" panose="020B0604030504040204" pitchFamily="34" charset="-120"/>
              </a:rPr>
              <a:t>Apple </a:t>
            </a:r>
            <a:r>
              <a:rPr lang="zh-TW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回收廠指南》</a:t>
            </a:r>
            <a:endParaRPr lang="en-US" altLang="zh-TW" sz="2000" dirty="0">
              <a:solidFill>
                <a:prstClr val="black"/>
              </a:solidFill>
              <a:latin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285764" indent="-285764">
              <a:buFont typeface="Arial" panose="020B0604020202020204" pitchFamily="34" charset="0"/>
              <a:buChar char="•"/>
            </a:pPr>
            <a:r>
              <a:rPr lang="zh-TW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供應商</a:t>
            </a:r>
            <a:r>
              <a:rPr lang="zh-TW" altLang="en-US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遵守</a:t>
            </a:r>
            <a:r>
              <a:rPr lang="en-US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Cambria Math" panose="02040503050406030204" pitchFamily="18" charset="0"/>
              </a:rPr>
              <a:t>⟪</a:t>
            </a:r>
            <a:r>
              <a:rPr lang="zh-TW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Times New Roman" panose="02020603050405020304" pitchFamily="18" charset="0"/>
              </a:rPr>
              <a:t>準則</a:t>
            </a:r>
            <a:r>
              <a:rPr lang="en-US" altLang="zh-TW" sz="2000" dirty="0">
                <a:solidFill>
                  <a:prstClr val="black"/>
                </a:solidFill>
                <a:latin typeface="微軟正黑體" panose="020B0604030504040204" pitchFamily="34" charset="-120"/>
                <a:cs typeface="Cambria Math" panose="02040503050406030204" pitchFamily="18" charset="0"/>
              </a:rPr>
              <a:t>⟫</a:t>
            </a:r>
            <a:endParaRPr lang="zh-TW" altLang="en-US" sz="2000" dirty="0">
              <a:solidFill>
                <a:prstClr val="black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6744650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1761F81B-0783-D43E-9901-14413F774AD9}"/>
              </a:ext>
            </a:extLst>
          </p:cNvPr>
          <p:cNvSpPr/>
          <p:nvPr/>
        </p:nvSpPr>
        <p:spPr>
          <a:xfrm>
            <a:off x="2393519" y="-1290"/>
            <a:ext cx="1762540" cy="874643"/>
          </a:xfrm>
          <a:prstGeom prst="rect">
            <a:avLst/>
          </a:prstGeom>
          <a:solidFill>
            <a:srgbClr val="64B02D"/>
          </a:solidFill>
          <a:ln>
            <a:solidFill>
              <a:srgbClr val="64B0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2400" dirty="0">
                <a:solidFill>
                  <a:srgbClr val="FFFFFF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減碳策略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AD2BC5D-D4DC-FC94-C3B9-439F7A181545}"/>
              </a:ext>
            </a:extLst>
          </p:cNvPr>
          <p:cNvSpPr/>
          <p:nvPr/>
        </p:nvSpPr>
        <p:spPr>
          <a:xfrm>
            <a:off x="517876" y="-15584"/>
            <a:ext cx="1762540" cy="87464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2400" dirty="0">
                <a:solidFill>
                  <a:srgbClr val="FFFFFF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減碳目標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8AF8C2E9-BD5B-C6A8-758E-4FA117F6AF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31040"/>
            <a:ext cx="12192000" cy="590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99866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30A28C35-A448-4F69-9CD3-6AFAF360F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91438"/>
            <a:ext cx="10515600" cy="1325563"/>
          </a:xfrm>
        </p:spPr>
        <p:txBody>
          <a:bodyPr>
            <a:normAutofit/>
          </a:bodyPr>
          <a:lstStyle/>
          <a:p>
            <a:r>
              <a:rPr lang="zh-TW" altLang="en-US" sz="4000" dirty="0"/>
              <a:t>綠色供應鏈食品</a:t>
            </a:r>
            <a:r>
              <a:rPr lang="zh-TW" altLang="zh-TW" sz="4000" dirty="0"/>
              <a:t>業</a:t>
            </a:r>
            <a:r>
              <a:rPr lang="zh-TW" altLang="en-US" sz="4000" dirty="0"/>
              <a:t>案例</a:t>
            </a:r>
            <a:r>
              <a:rPr lang="en-US" altLang="zh-TW" sz="4000" dirty="0"/>
              <a:t>-</a:t>
            </a:r>
            <a:r>
              <a:rPr lang="zh-TW" altLang="en-US" sz="4000" dirty="0"/>
              <a:t>雀巢</a:t>
            </a:r>
          </a:p>
        </p:txBody>
      </p:sp>
      <p:pic>
        <p:nvPicPr>
          <p:cNvPr id="3" name="圖片 2">
            <a:extLst>
              <a:ext uri="{FF2B5EF4-FFF2-40B4-BE49-F238E27FC236}">
                <a16:creationId xmlns:a16="http://schemas.microsoft.com/office/drawing/2014/main" id="{D1BA4B68-1553-CF71-AFB4-683D0C1916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9990" y="2731175"/>
            <a:ext cx="5514942" cy="3149368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2D5D0AF9-38B9-EF48-6A2F-B9F6CD80DC80}"/>
              </a:ext>
            </a:extLst>
          </p:cNvPr>
          <p:cNvSpPr txBox="1"/>
          <p:nvPr/>
        </p:nvSpPr>
        <p:spPr>
          <a:xfrm>
            <a:off x="838201" y="5947696"/>
            <a:ext cx="29617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dirty="0">
                <a:solidFill>
                  <a:prstClr val="black"/>
                </a:solidFill>
              </a:rPr>
              <a:t>資料來源：</a:t>
            </a:r>
            <a:r>
              <a:rPr lang="en-US" altLang="zh-TW" dirty="0">
                <a:solidFill>
                  <a:prstClr val="black"/>
                </a:solidFill>
              </a:rPr>
              <a:t>Nestle</a:t>
            </a:r>
            <a:r>
              <a:rPr lang="zh-TW" altLang="en-US" dirty="0">
                <a:solidFill>
                  <a:prstClr val="black"/>
                </a:solidFill>
              </a:rPr>
              <a:t>（</a:t>
            </a:r>
            <a:r>
              <a:rPr lang="en-US" altLang="zh-TW" dirty="0">
                <a:solidFill>
                  <a:prstClr val="black"/>
                </a:solidFill>
              </a:rPr>
              <a:t>2022</a:t>
            </a:r>
            <a:r>
              <a:rPr lang="zh-TW" altLang="en-US" dirty="0">
                <a:solidFill>
                  <a:prstClr val="black"/>
                </a:solidFill>
              </a:rPr>
              <a:t>）</a:t>
            </a:r>
          </a:p>
        </p:txBody>
      </p:sp>
      <p:graphicFrame>
        <p:nvGraphicFramePr>
          <p:cNvPr id="16" name="資料庫圖表 15">
            <a:extLst>
              <a:ext uri="{FF2B5EF4-FFF2-40B4-BE49-F238E27FC236}">
                <a16:creationId xmlns:a16="http://schemas.microsoft.com/office/drawing/2014/main" id="{8B7ECC05-64ED-39E5-79CE-25487C384158}"/>
              </a:ext>
            </a:extLst>
          </p:cNvPr>
          <p:cNvGraphicFramePr/>
          <p:nvPr/>
        </p:nvGraphicFramePr>
        <p:xfrm>
          <a:off x="6483700" y="1960786"/>
          <a:ext cx="5059202" cy="39197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內容版面配置區 13">
            <a:extLst>
              <a:ext uri="{FF2B5EF4-FFF2-40B4-BE49-F238E27FC236}">
                <a16:creationId xmlns:a16="http://schemas.microsoft.com/office/drawing/2014/main" id="{26970387-EE8F-F361-2755-C91F40F89A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42588" y="5061612"/>
            <a:ext cx="2330871" cy="52322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zh-TW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通過</a:t>
            </a:r>
            <a:r>
              <a:rPr lang="en-US" altLang="zh-TW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BTi</a:t>
            </a:r>
            <a:r>
              <a:rPr lang="zh-TW" alt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認可</a:t>
            </a:r>
          </a:p>
        </p:txBody>
      </p:sp>
      <p:sp>
        <p:nvSpPr>
          <p:cNvPr id="20" name="文字方塊 19">
            <a:extLst>
              <a:ext uri="{FF2B5EF4-FFF2-40B4-BE49-F238E27FC236}">
                <a16:creationId xmlns:a16="http://schemas.microsoft.com/office/drawing/2014/main" id="{9C32BCA1-1CF4-4709-A51A-604C151166FA}"/>
              </a:ext>
            </a:extLst>
          </p:cNvPr>
          <p:cNvSpPr txBox="1"/>
          <p:nvPr/>
        </p:nvSpPr>
        <p:spPr>
          <a:xfrm>
            <a:off x="9694034" y="4538392"/>
            <a:ext cx="16279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TW" altLang="en-US" sz="28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減碳目標</a:t>
            </a:r>
          </a:p>
        </p:txBody>
      </p:sp>
      <p:sp>
        <p:nvSpPr>
          <p:cNvPr id="24" name="文字方塊 23">
            <a:extLst>
              <a:ext uri="{FF2B5EF4-FFF2-40B4-BE49-F238E27FC236}">
                <a16:creationId xmlns:a16="http://schemas.microsoft.com/office/drawing/2014/main" id="{D7C864B8-37D4-7DC9-01BF-F2D866CD7824}"/>
              </a:ext>
            </a:extLst>
          </p:cNvPr>
          <p:cNvSpPr txBox="1"/>
          <p:nvPr/>
        </p:nvSpPr>
        <p:spPr>
          <a:xfrm>
            <a:off x="838200" y="1833026"/>
            <a:ext cx="63564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17" indent="-342917">
              <a:buFont typeface="Arial" panose="020B0604020202020204" pitchFamily="34" charset="0"/>
              <a:buChar char="•"/>
            </a:pPr>
            <a:r>
              <a:rPr lang="zh-TW" altLang="en-US" sz="2400" dirty="0">
                <a:solidFill>
                  <a:prstClr val="black"/>
                </a:solidFill>
              </a:rPr>
              <a:t>雀巢約</a:t>
            </a:r>
            <a:r>
              <a:rPr lang="en-US" altLang="zh-TW" sz="2400" dirty="0">
                <a:solidFill>
                  <a:prstClr val="black"/>
                </a:solidFill>
              </a:rPr>
              <a:t>95%</a:t>
            </a:r>
            <a:r>
              <a:rPr lang="zh-TW" altLang="en-US" sz="2400" dirty="0">
                <a:solidFill>
                  <a:prstClr val="black"/>
                </a:solidFill>
              </a:rPr>
              <a:t>溫室氣體排放來自其上下游產業（範疇三溫室氣體排放）</a:t>
            </a:r>
          </a:p>
        </p:txBody>
      </p:sp>
    </p:spTree>
    <p:extLst>
      <p:ext uri="{BB962C8B-B14F-4D97-AF65-F5344CB8AC3E}">
        <p14:creationId xmlns:p14="http://schemas.microsoft.com/office/powerpoint/2010/main" val="16162198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內容版面配置區 3">
            <a:extLst>
              <a:ext uri="{FF2B5EF4-FFF2-40B4-BE49-F238E27FC236}">
                <a16:creationId xmlns:a16="http://schemas.microsoft.com/office/drawing/2014/main" id="{C4B9FC41-C0D4-B160-7537-268A206EEC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9510" y="873353"/>
            <a:ext cx="8592865" cy="5959247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B4EC9EA5-1D72-9362-17A1-4867CC6E52D0}"/>
              </a:ext>
            </a:extLst>
          </p:cNvPr>
          <p:cNvSpPr/>
          <p:nvPr/>
        </p:nvSpPr>
        <p:spPr>
          <a:xfrm>
            <a:off x="2393519" y="-1290"/>
            <a:ext cx="1762540" cy="87464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2400" dirty="0">
                <a:solidFill>
                  <a:srgbClr val="FFFFFF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減碳策略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647573B-FB48-CF26-8034-1001556E85E2}"/>
              </a:ext>
            </a:extLst>
          </p:cNvPr>
          <p:cNvSpPr/>
          <p:nvPr/>
        </p:nvSpPr>
        <p:spPr>
          <a:xfrm>
            <a:off x="517876" y="-15584"/>
            <a:ext cx="1762540" cy="874643"/>
          </a:xfrm>
          <a:prstGeom prst="rect">
            <a:avLst/>
          </a:prstGeom>
          <a:solidFill>
            <a:srgbClr val="53A1FF"/>
          </a:solidFill>
          <a:ln>
            <a:solidFill>
              <a:srgbClr val="53A1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TW" altLang="en-US" sz="2400" dirty="0">
                <a:solidFill>
                  <a:srgbClr val="FFFFFF"/>
                </a:solidFill>
                <a:latin typeface="Microsoft JhengHei" panose="020B0604030504040204" pitchFamily="34" charset="-120"/>
                <a:ea typeface="Microsoft JhengHei" panose="020B0604030504040204" pitchFamily="34" charset="-120"/>
              </a:rPr>
              <a:t>減碳目標</a:t>
            </a: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84C83B64-43C2-1A58-AFFC-2C5AA612B907}"/>
              </a:ext>
            </a:extLst>
          </p:cNvPr>
          <p:cNvSpPr txBox="1"/>
          <p:nvPr/>
        </p:nvSpPr>
        <p:spPr>
          <a:xfrm>
            <a:off x="209015" y="1447800"/>
            <a:ext cx="3346985" cy="4278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TW" sz="1600" b="1" dirty="0"/>
              <a:t>2025</a:t>
            </a:r>
            <a:r>
              <a:rPr lang="zh-TW" altLang="zh-TW" sz="1600" b="1" dirty="0"/>
              <a:t>年前達到</a:t>
            </a:r>
            <a:r>
              <a:rPr lang="zh-TW" altLang="en-US" sz="1600" b="1" dirty="0"/>
              <a:t>：</a:t>
            </a:r>
            <a:endParaRPr lang="en-US" altLang="zh-TW" sz="1600" b="1" dirty="0"/>
          </a:p>
          <a:p>
            <a:r>
              <a:rPr lang="en-US" altLang="zh-TW" sz="1600" b="1" dirty="0"/>
              <a:t>1</a:t>
            </a:r>
            <a:r>
              <a:rPr lang="en-US" altLang="zh-TW" sz="1600" dirty="0"/>
              <a:t>.</a:t>
            </a:r>
            <a:r>
              <a:rPr lang="zh-TW" altLang="zh-TW" sz="1600" dirty="0"/>
              <a:t>包裝全面轉換成可回收或可再利用</a:t>
            </a:r>
          </a:p>
          <a:p>
            <a:r>
              <a:rPr lang="en-US" altLang="zh-TW" sz="1600" dirty="0"/>
              <a:t>2.</a:t>
            </a:r>
            <a:r>
              <a:rPr lang="zh-TW" altLang="zh-TW" sz="1600" dirty="0"/>
              <a:t>使用永續認證的咖啡與可可豆</a:t>
            </a:r>
            <a:r>
              <a:rPr lang="en-US" altLang="zh-TW" sz="1600" dirty="0"/>
              <a:t>(</a:t>
            </a:r>
            <a:r>
              <a:rPr lang="zh-TW" altLang="zh-TW" sz="1600" dirty="0"/>
              <a:t>可可豆可以追朔源頭並且須符合相關第三方認證</a:t>
            </a:r>
          </a:p>
          <a:p>
            <a:r>
              <a:rPr lang="en-US" altLang="zh-TW" sz="1600" dirty="0"/>
              <a:t>3.</a:t>
            </a:r>
            <a:r>
              <a:rPr lang="zh-TW" altLang="zh-TW" sz="1600" dirty="0"/>
              <a:t>所有據點全面使用可在生電力</a:t>
            </a:r>
          </a:p>
          <a:p>
            <a:r>
              <a:rPr lang="en-US" altLang="zh-TW" sz="1600" dirty="0"/>
              <a:t>4. 20%</a:t>
            </a:r>
            <a:r>
              <a:rPr lang="zh-TW" altLang="zh-TW" sz="1600" dirty="0"/>
              <a:t>主要物料之取得來自再生農業</a:t>
            </a:r>
          </a:p>
          <a:p>
            <a:endParaRPr lang="en-US" altLang="zh-TW" sz="1600" dirty="0"/>
          </a:p>
          <a:p>
            <a:endParaRPr lang="zh-TW" altLang="zh-TW" sz="1600" dirty="0"/>
          </a:p>
          <a:p>
            <a:r>
              <a:rPr lang="en-US" altLang="zh-TW" sz="1600" b="1" dirty="0"/>
              <a:t>2030</a:t>
            </a:r>
            <a:r>
              <a:rPr lang="zh-TW" altLang="zh-TW" sz="1600" b="1" dirty="0"/>
              <a:t>年前達到</a:t>
            </a:r>
            <a:r>
              <a:rPr lang="zh-TW" altLang="en-US" sz="1600" b="1" dirty="0"/>
              <a:t> </a:t>
            </a:r>
            <a:endParaRPr lang="en-US" altLang="zh-TW" sz="1600" b="1" dirty="0"/>
          </a:p>
          <a:p>
            <a:r>
              <a:rPr lang="en-US" altLang="zh-TW" sz="1600" dirty="0"/>
              <a:t>1.</a:t>
            </a:r>
            <a:r>
              <a:rPr lang="zh-TW" altLang="zh-TW" sz="1600" dirty="0"/>
              <a:t>種植</a:t>
            </a:r>
            <a:r>
              <a:rPr lang="en-US" altLang="zh-TW" sz="1600" dirty="0"/>
              <a:t>2</a:t>
            </a:r>
            <a:r>
              <a:rPr lang="zh-TW" altLang="zh-TW" sz="1600" dirty="0"/>
              <a:t>億棵樹</a:t>
            </a:r>
            <a:endParaRPr lang="en-US" altLang="zh-TW" sz="1600" dirty="0"/>
          </a:p>
          <a:p>
            <a:r>
              <a:rPr lang="en-US" altLang="zh-TW" sz="1600" dirty="0"/>
              <a:t>2.50</a:t>
            </a:r>
            <a:r>
              <a:rPr lang="zh-TW" altLang="zh-TW" sz="1600" dirty="0"/>
              <a:t>％主要物料之取得來自再生農業</a:t>
            </a:r>
          </a:p>
          <a:p>
            <a:r>
              <a:rPr lang="en-US" altLang="zh-TW" sz="1600" dirty="0"/>
              <a:t>3.</a:t>
            </a:r>
            <a:r>
              <a:rPr lang="zh-TW" altLang="zh-TW" sz="1600" dirty="0"/>
              <a:t>生產製造過程使用可再生的熱電發電</a:t>
            </a:r>
          </a:p>
        </p:txBody>
      </p:sp>
    </p:spTree>
    <p:extLst>
      <p:ext uri="{BB962C8B-B14F-4D97-AF65-F5344CB8AC3E}">
        <p14:creationId xmlns:p14="http://schemas.microsoft.com/office/powerpoint/2010/main" val="19394611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22124" y="319473"/>
            <a:ext cx="12192000" cy="752514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zh-TW" altLang="en-US" sz="3200" b="1" kern="0" spc="600" dirty="0">
                <a:solidFill>
                  <a:srgbClr val="34B2E4">
                    <a:lumMod val="50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  <a:sym typeface="+mn-lt"/>
              </a:rPr>
              <a:t>企業淨零碳排主要關鍵</a:t>
            </a:r>
            <a:endParaRPr lang="zh-CN" altLang="en-US" sz="3200" b="1" kern="0" spc="600" dirty="0">
              <a:solidFill>
                <a:srgbClr val="34B2E4">
                  <a:lumMod val="50000"/>
                </a:srgb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7" name="直線接點 6"/>
          <p:cNvCxnSpPr/>
          <p:nvPr/>
        </p:nvCxnSpPr>
        <p:spPr>
          <a:xfrm>
            <a:off x="864623" y="4069016"/>
            <a:ext cx="10656000" cy="0"/>
          </a:xfrm>
          <a:prstGeom prst="line">
            <a:avLst/>
          </a:prstGeom>
          <a:ln w="38100">
            <a:gradFill>
              <a:gsLst>
                <a:gs pos="80000">
                  <a:srgbClr val="D38176"/>
                </a:gs>
                <a:gs pos="60000">
                  <a:srgbClr val="FA7D2D"/>
                </a:gs>
                <a:gs pos="40000">
                  <a:srgbClr val="FFA934"/>
                </a:gs>
                <a:gs pos="20000">
                  <a:srgbClr val="99A924"/>
                </a:gs>
                <a:gs pos="0">
                  <a:srgbClr val="5BC3EB"/>
                </a:gs>
                <a:gs pos="100000">
                  <a:srgbClr val="0070C0"/>
                </a:gs>
              </a:gsLst>
              <a:lin ang="0" scaled="0"/>
            </a:gradFill>
            <a:headEnd type="oval" w="med" len="med"/>
            <a:tailEnd type="oval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pSp>
        <p:nvGrpSpPr>
          <p:cNvPr id="32" name="群組 31"/>
          <p:cNvGrpSpPr/>
          <p:nvPr/>
        </p:nvGrpSpPr>
        <p:grpSpPr>
          <a:xfrm>
            <a:off x="380339" y="1887748"/>
            <a:ext cx="972000" cy="2289269"/>
            <a:chOff x="441298" y="1887747"/>
            <a:chExt cx="972000" cy="2289269"/>
          </a:xfrm>
        </p:grpSpPr>
        <p:grpSp>
          <p:nvGrpSpPr>
            <p:cNvPr id="13" name="群組 12"/>
            <p:cNvGrpSpPr/>
            <p:nvPr/>
          </p:nvGrpSpPr>
          <p:grpSpPr>
            <a:xfrm>
              <a:off x="441298" y="1887747"/>
              <a:ext cx="972000" cy="2289269"/>
              <a:chOff x="909594" y="1650324"/>
              <a:chExt cx="972000" cy="2289269"/>
            </a:xfrm>
          </p:grpSpPr>
          <p:sp>
            <p:nvSpPr>
              <p:cNvPr id="9" name="橢圓 8"/>
              <p:cNvSpPr/>
              <p:nvPr/>
            </p:nvSpPr>
            <p:spPr>
              <a:xfrm>
                <a:off x="1292319" y="3723593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5BC3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" name="橢圓 9"/>
              <p:cNvSpPr/>
              <p:nvPr/>
            </p:nvSpPr>
            <p:spPr>
              <a:xfrm>
                <a:off x="909594" y="1650324"/>
                <a:ext cx="972000" cy="970956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5BC3E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2" name="直線接點 11"/>
              <p:cNvCxnSpPr>
                <a:stCxn id="10" idx="4"/>
                <a:endCxn id="9" idx="0"/>
              </p:cNvCxnSpPr>
              <p:nvPr/>
            </p:nvCxnSpPr>
            <p:spPr>
              <a:xfrm>
                <a:off x="1395594" y="2621280"/>
                <a:ext cx="4725" cy="1102313"/>
              </a:xfrm>
              <a:prstGeom prst="line">
                <a:avLst/>
              </a:prstGeom>
              <a:ln w="28575">
                <a:solidFill>
                  <a:srgbClr val="5BC3E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" name="文字方塊 35"/>
            <p:cNvSpPr txBox="1"/>
            <p:nvPr/>
          </p:nvSpPr>
          <p:spPr>
            <a:xfrm>
              <a:off x="549630" y="2171124"/>
              <a:ext cx="77598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認知</a:t>
              </a:r>
            </a:p>
          </p:txBody>
        </p:sp>
      </p:grpSp>
      <p:grpSp>
        <p:nvGrpSpPr>
          <p:cNvPr id="28" name="群組 27"/>
          <p:cNvGrpSpPr/>
          <p:nvPr/>
        </p:nvGrpSpPr>
        <p:grpSpPr>
          <a:xfrm>
            <a:off x="2507681" y="3961016"/>
            <a:ext cx="972001" cy="2289269"/>
            <a:chOff x="2965611" y="3961016"/>
            <a:chExt cx="972000" cy="2289269"/>
          </a:xfrm>
        </p:grpSpPr>
        <p:grpSp>
          <p:nvGrpSpPr>
            <p:cNvPr id="14" name="群組 13"/>
            <p:cNvGrpSpPr/>
            <p:nvPr/>
          </p:nvGrpSpPr>
          <p:grpSpPr>
            <a:xfrm flipV="1">
              <a:off x="2965611" y="3961016"/>
              <a:ext cx="972000" cy="2289269"/>
              <a:chOff x="909594" y="1650324"/>
              <a:chExt cx="972000" cy="2289269"/>
            </a:xfrm>
          </p:grpSpPr>
          <p:sp>
            <p:nvSpPr>
              <p:cNvPr id="15" name="橢圓 14"/>
              <p:cNvSpPr/>
              <p:nvPr/>
            </p:nvSpPr>
            <p:spPr>
              <a:xfrm>
                <a:off x="1292319" y="3723593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98A82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6" name="橢圓 15"/>
              <p:cNvSpPr/>
              <p:nvPr/>
            </p:nvSpPr>
            <p:spPr>
              <a:xfrm>
                <a:off x="909594" y="1650324"/>
                <a:ext cx="972000" cy="970956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98A82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17" name="直線接點 16"/>
              <p:cNvCxnSpPr>
                <a:stCxn id="16" idx="4"/>
                <a:endCxn id="15" idx="0"/>
              </p:cNvCxnSpPr>
              <p:nvPr/>
            </p:nvCxnSpPr>
            <p:spPr>
              <a:xfrm>
                <a:off x="1395594" y="2621280"/>
                <a:ext cx="4725" cy="1102313"/>
              </a:xfrm>
              <a:prstGeom prst="line">
                <a:avLst/>
              </a:prstGeom>
              <a:ln w="28575">
                <a:solidFill>
                  <a:srgbClr val="98A82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" name="文字方塊 36"/>
            <p:cNvSpPr txBox="1"/>
            <p:nvPr/>
          </p:nvSpPr>
          <p:spPr>
            <a:xfrm>
              <a:off x="3110964" y="5564752"/>
              <a:ext cx="69762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盤查</a:t>
              </a:r>
            </a:p>
          </p:txBody>
        </p:sp>
      </p:grpSp>
      <p:grpSp>
        <p:nvGrpSpPr>
          <p:cNvPr id="26" name="群組 25"/>
          <p:cNvGrpSpPr/>
          <p:nvPr/>
        </p:nvGrpSpPr>
        <p:grpSpPr>
          <a:xfrm>
            <a:off x="4635023" y="1887748"/>
            <a:ext cx="972000" cy="2289269"/>
            <a:chOff x="6427280" y="1887747"/>
            <a:chExt cx="972000" cy="2289269"/>
          </a:xfrm>
        </p:grpSpPr>
        <p:grpSp>
          <p:nvGrpSpPr>
            <p:cNvPr id="18" name="群組 17"/>
            <p:cNvGrpSpPr/>
            <p:nvPr/>
          </p:nvGrpSpPr>
          <p:grpSpPr>
            <a:xfrm>
              <a:off x="6427280" y="1887747"/>
              <a:ext cx="972000" cy="2289269"/>
              <a:chOff x="909594" y="1650324"/>
              <a:chExt cx="972000" cy="2289269"/>
            </a:xfrm>
          </p:grpSpPr>
          <p:sp>
            <p:nvSpPr>
              <p:cNvPr id="19" name="橢圓 18"/>
              <p:cNvSpPr/>
              <p:nvPr/>
            </p:nvSpPr>
            <p:spPr>
              <a:xfrm>
                <a:off x="1292319" y="3723593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BAE4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" name="橢圓 19"/>
              <p:cNvSpPr/>
              <p:nvPr/>
            </p:nvSpPr>
            <p:spPr>
              <a:xfrm>
                <a:off x="909594" y="1650324"/>
                <a:ext cx="972000" cy="970956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FA9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1" name="直線接點 20"/>
              <p:cNvCxnSpPr>
                <a:stCxn id="20" idx="4"/>
                <a:endCxn id="19" idx="0"/>
              </p:cNvCxnSpPr>
              <p:nvPr/>
            </p:nvCxnSpPr>
            <p:spPr>
              <a:xfrm>
                <a:off x="1395594" y="2621280"/>
                <a:ext cx="4725" cy="1102313"/>
              </a:xfrm>
              <a:prstGeom prst="line">
                <a:avLst/>
              </a:prstGeom>
              <a:ln w="28575">
                <a:solidFill>
                  <a:srgbClr val="FBAE4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8" name="文字方塊 37"/>
            <p:cNvSpPr txBox="1"/>
            <p:nvPr/>
          </p:nvSpPr>
          <p:spPr>
            <a:xfrm>
              <a:off x="6536412" y="2171124"/>
              <a:ext cx="7537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揭露</a:t>
              </a:r>
            </a:p>
          </p:txBody>
        </p:sp>
      </p:grpSp>
      <p:grpSp>
        <p:nvGrpSpPr>
          <p:cNvPr id="27" name="群組 26"/>
          <p:cNvGrpSpPr/>
          <p:nvPr/>
        </p:nvGrpSpPr>
        <p:grpSpPr>
          <a:xfrm>
            <a:off x="6762368" y="3961017"/>
            <a:ext cx="972000" cy="2289269"/>
            <a:chOff x="9238770" y="3961016"/>
            <a:chExt cx="972000" cy="2289269"/>
          </a:xfrm>
        </p:grpSpPr>
        <p:grpSp>
          <p:nvGrpSpPr>
            <p:cNvPr id="22" name="群組 21"/>
            <p:cNvGrpSpPr/>
            <p:nvPr/>
          </p:nvGrpSpPr>
          <p:grpSpPr>
            <a:xfrm flipV="1">
              <a:off x="9238770" y="3961016"/>
              <a:ext cx="972000" cy="2289269"/>
              <a:chOff x="909594" y="1650324"/>
              <a:chExt cx="972000" cy="2289269"/>
            </a:xfrm>
          </p:grpSpPr>
          <p:sp>
            <p:nvSpPr>
              <p:cNvPr id="23" name="橢圓 22"/>
              <p:cNvSpPr/>
              <p:nvPr/>
            </p:nvSpPr>
            <p:spPr>
              <a:xfrm>
                <a:off x="1292319" y="3723593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450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4" name="橢圓 23"/>
              <p:cNvSpPr/>
              <p:nvPr/>
            </p:nvSpPr>
            <p:spPr>
              <a:xfrm>
                <a:off x="909594" y="1650324"/>
                <a:ext cx="972000" cy="970956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F4502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25" name="直線接點 24"/>
              <p:cNvCxnSpPr>
                <a:stCxn id="24" idx="4"/>
                <a:endCxn id="23" idx="0"/>
              </p:cNvCxnSpPr>
              <p:nvPr/>
            </p:nvCxnSpPr>
            <p:spPr>
              <a:xfrm>
                <a:off x="1395594" y="2621280"/>
                <a:ext cx="4725" cy="1102313"/>
              </a:xfrm>
              <a:prstGeom prst="line">
                <a:avLst/>
              </a:prstGeom>
              <a:ln w="28575">
                <a:solidFill>
                  <a:srgbClr val="F4502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9" name="文字方塊 38"/>
            <p:cNvSpPr txBox="1"/>
            <p:nvPr/>
          </p:nvSpPr>
          <p:spPr>
            <a:xfrm>
              <a:off x="9388482" y="5412380"/>
              <a:ext cx="697627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目標</a:t>
              </a:r>
              <a:endParaRPr lang="en-US" altLang="zh-TW" sz="2000" dirty="0">
                <a:solidFill>
                  <a:prstClr val="black"/>
                </a:solidFill>
                <a:cs typeface="Arial" panose="020B0604020202020204" pitchFamily="34" charset="0"/>
              </a:endParaRPr>
            </a:p>
            <a:p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策略</a:t>
              </a:r>
            </a:p>
          </p:txBody>
        </p:sp>
      </p:grpSp>
      <p:sp>
        <p:nvSpPr>
          <p:cNvPr id="40" name="文字方塊 39"/>
          <p:cNvSpPr txBox="1"/>
          <p:nvPr/>
        </p:nvSpPr>
        <p:spPr>
          <a:xfrm>
            <a:off x="78345" y="4667176"/>
            <a:ext cx="18605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碳邊境調整機制</a:t>
            </a:r>
            <a:endParaRPr lang="en-US" altLang="zh-TW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碳排放交易系統</a:t>
            </a:r>
            <a:endParaRPr lang="en-US" altLang="zh-TW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44" indent="-285744" algn="just">
              <a:buFont typeface="Wingdings" panose="05000000000000000000" pitchFamily="2" charset="2"/>
              <a:buChar char="n"/>
            </a:pP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環境永續分類標準（六大環境目的、應用產業類別）</a:t>
            </a:r>
          </a:p>
        </p:txBody>
      </p:sp>
      <p:sp>
        <p:nvSpPr>
          <p:cNvPr id="49" name="矩形 48"/>
          <p:cNvSpPr/>
          <p:nvPr/>
        </p:nvSpPr>
        <p:spPr>
          <a:xfrm>
            <a:off x="78346" y="4293146"/>
            <a:ext cx="18261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1200"/>
              </a:spcAft>
            </a:pPr>
            <a:r>
              <a:rPr lang="zh-TW" altLang="en-US" sz="1600" b="1" dirty="0">
                <a:solidFill>
                  <a:srgbClr val="00B0F0"/>
                </a:solidFill>
                <a:cs typeface="Arial" panose="020B0604020202020204" pitchFamily="34" charset="0"/>
              </a:rPr>
              <a:t>認知國際氣候政策</a:t>
            </a:r>
            <a:endParaRPr lang="en-US" altLang="zh-TW" sz="1600" b="1" dirty="0">
              <a:solidFill>
                <a:srgbClr val="00B0F0"/>
              </a:solidFill>
              <a:cs typeface="Arial" panose="020B0604020202020204" pitchFamily="34" charset="0"/>
            </a:endParaRPr>
          </a:p>
        </p:txBody>
      </p:sp>
      <p:sp>
        <p:nvSpPr>
          <p:cNvPr id="56" name="文字方塊 55"/>
          <p:cNvSpPr txBox="1"/>
          <p:nvPr/>
        </p:nvSpPr>
        <p:spPr>
          <a:xfrm>
            <a:off x="4040419" y="4667175"/>
            <a:ext cx="216120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歐盟永續金融揭露規範＆企業永續報告指令</a:t>
            </a:r>
            <a:endParaRPr lang="en-US" altLang="zh-TW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GRI</a:t>
            </a: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準則</a:t>
            </a:r>
            <a:endParaRPr lang="en-US" altLang="zh-TW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SASB</a:t>
            </a: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準則</a:t>
            </a:r>
            <a:endParaRPr lang="en-US" altLang="zh-TW" sz="1200" b="1" dirty="0">
              <a:solidFill>
                <a:prstClr val="black">
                  <a:lumMod val="75000"/>
                  <a:lumOff val="25000"/>
                </a:prstClr>
              </a:solidFill>
              <a:cs typeface="Arial" panose="020B0604020202020204" pitchFamily="34" charset="0"/>
            </a:endParaRPr>
          </a:p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TCFD</a:t>
            </a:r>
            <a:r>
              <a:rPr lang="zh-TW" alt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氣候相關財務揭露</a:t>
            </a:r>
          </a:p>
        </p:txBody>
      </p:sp>
      <p:sp>
        <p:nvSpPr>
          <p:cNvPr id="57" name="矩形 56"/>
          <p:cNvSpPr/>
          <p:nvPr/>
        </p:nvSpPr>
        <p:spPr>
          <a:xfrm>
            <a:off x="4409555" y="4274342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b="1" dirty="0">
                <a:solidFill>
                  <a:srgbClr val="FFA934"/>
                </a:solidFill>
                <a:cs typeface="Arial" panose="020B0604020202020204" pitchFamily="34" charset="0"/>
              </a:rPr>
              <a:t>環境資訊揭露</a:t>
            </a:r>
            <a:endParaRPr lang="en-US" altLang="zh-TW" sz="1600" b="1" dirty="0">
              <a:solidFill>
                <a:srgbClr val="FFA934"/>
              </a:solidFill>
              <a:cs typeface="Arial" panose="020B0604020202020204" pitchFamily="34" charset="0"/>
            </a:endParaRPr>
          </a:p>
        </p:txBody>
      </p:sp>
      <p:sp>
        <p:nvSpPr>
          <p:cNvPr id="59" name="文字方塊 58"/>
          <p:cNvSpPr txBox="1"/>
          <p:nvPr/>
        </p:nvSpPr>
        <p:spPr>
          <a:xfrm>
            <a:off x="6271961" y="2613765"/>
            <a:ext cx="2001641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TW" altLang="zh-TW" sz="1200" b="1" dirty="0">
                <a:solidFill>
                  <a:prstClr val="black"/>
                </a:solidFill>
              </a:rPr>
              <a:t>能源決策模型</a:t>
            </a:r>
            <a:endParaRPr lang="en-US" altLang="zh-TW" sz="1200" b="1" dirty="0">
              <a:solidFill>
                <a:prstClr val="black"/>
              </a:solidFill>
            </a:endParaRPr>
          </a:p>
          <a:p>
            <a:pPr marL="285744" indent="-285744" algn="just">
              <a:spcAft>
                <a:spcPts val="600"/>
              </a:spcAft>
              <a:buFont typeface="Wingdings" panose="05000000000000000000" pitchFamily="2" charset="2"/>
              <a:buChar char="n"/>
            </a:pPr>
            <a:r>
              <a:rPr lang="zh-TW" altLang="zh-TW" sz="1200" b="1" dirty="0">
                <a:solidFill>
                  <a:prstClr val="black"/>
                </a:solidFill>
              </a:rPr>
              <a:t>循環經濟效益評估</a:t>
            </a:r>
            <a:endParaRPr lang="en-US" altLang="zh-TW" sz="1200" b="1" dirty="0">
              <a:solidFill>
                <a:prstClr val="black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6242277" y="2214383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b="1" dirty="0">
                <a:solidFill>
                  <a:srgbClr val="FF0000"/>
                </a:solidFill>
                <a:cs typeface="Arial" panose="020B0604020202020204" pitchFamily="34" charset="0"/>
              </a:rPr>
              <a:t>減碳目標與路徑設定</a:t>
            </a:r>
            <a:endParaRPr lang="en-US" altLang="zh-TW" sz="16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2256939" y="2214383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b="1" dirty="0">
                <a:solidFill>
                  <a:srgbClr val="98A821"/>
                </a:solidFill>
                <a:cs typeface="Arial" panose="020B0604020202020204" pitchFamily="34" charset="0"/>
              </a:rPr>
              <a:t>導入盤查標準</a:t>
            </a:r>
            <a:endParaRPr lang="en-US" altLang="zh-TW" sz="1600" b="1" dirty="0">
              <a:solidFill>
                <a:srgbClr val="98A821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群組 32"/>
          <p:cNvGrpSpPr/>
          <p:nvPr/>
        </p:nvGrpSpPr>
        <p:grpSpPr>
          <a:xfrm>
            <a:off x="1354767" y="2613767"/>
            <a:ext cx="3727060" cy="1061829"/>
            <a:chOff x="1415726" y="2613764"/>
            <a:chExt cx="3727060" cy="1061829"/>
          </a:xfrm>
        </p:grpSpPr>
        <p:sp>
          <p:nvSpPr>
            <p:cNvPr id="53" name="文字方塊 52"/>
            <p:cNvSpPr txBox="1"/>
            <p:nvPr/>
          </p:nvSpPr>
          <p:spPr>
            <a:xfrm>
              <a:off x="1415726" y="2613764"/>
              <a:ext cx="3316216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ISO14064</a:t>
              </a: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溫室氣體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ISO14067</a:t>
              </a: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碳足跡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ISO5001</a:t>
              </a: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能源管理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ISO14046</a:t>
              </a: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水足跡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3091245" y="2613764"/>
              <a:ext cx="2051541" cy="1061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ISO 14051</a:t>
              </a:r>
              <a:r>
                <a:rPr lang="zh-TW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物質流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PAS 2060</a:t>
              </a:r>
              <a:r>
                <a:rPr lang="zh-TW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碳中和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BS 8001</a:t>
              </a:r>
              <a:r>
                <a:rPr lang="zh-TW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循環經濟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產品循環認證</a:t>
              </a:r>
            </a:p>
          </p:txBody>
        </p:sp>
      </p:grpSp>
      <p:grpSp>
        <p:nvGrpSpPr>
          <p:cNvPr id="46" name="群組 45"/>
          <p:cNvGrpSpPr/>
          <p:nvPr/>
        </p:nvGrpSpPr>
        <p:grpSpPr>
          <a:xfrm>
            <a:off x="8889707" y="1887748"/>
            <a:ext cx="972000" cy="2289269"/>
            <a:chOff x="6427280" y="1887747"/>
            <a:chExt cx="972000" cy="2289269"/>
          </a:xfrm>
        </p:grpSpPr>
        <p:grpSp>
          <p:nvGrpSpPr>
            <p:cNvPr id="47" name="群組 46"/>
            <p:cNvGrpSpPr/>
            <p:nvPr/>
          </p:nvGrpSpPr>
          <p:grpSpPr>
            <a:xfrm>
              <a:off x="6427280" y="1887747"/>
              <a:ext cx="972000" cy="2289269"/>
              <a:chOff x="909594" y="1650324"/>
              <a:chExt cx="972000" cy="2289269"/>
            </a:xfrm>
          </p:grpSpPr>
          <p:sp>
            <p:nvSpPr>
              <p:cNvPr id="51" name="橢圓 50"/>
              <p:cNvSpPr/>
              <p:nvPr/>
            </p:nvSpPr>
            <p:spPr>
              <a:xfrm>
                <a:off x="1292319" y="3723593"/>
                <a:ext cx="216000" cy="216000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AB85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63" name="橢圓 62"/>
              <p:cNvSpPr/>
              <p:nvPr/>
            </p:nvSpPr>
            <p:spPr>
              <a:xfrm>
                <a:off x="909594" y="1650324"/>
                <a:ext cx="972000" cy="970956"/>
              </a:xfrm>
              <a:prstGeom prst="ellipse">
                <a:avLst/>
              </a:prstGeom>
              <a:solidFill>
                <a:srgbClr val="FFFFFF"/>
              </a:solidFill>
              <a:ln w="28575">
                <a:solidFill>
                  <a:srgbClr val="AB85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TW" altLang="en-US">
                  <a:solidFill>
                    <a:prstClr val="white"/>
                  </a:solidFill>
                  <a:cs typeface="Arial" panose="020B0604020202020204" pitchFamily="34" charset="0"/>
                </a:endParaRPr>
              </a:p>
            </p:txBody>
          </p:sp>
          <p:cxnSp>
            <p:nvCxnSpPr>
              <p:cNvPr id="64" name="直線接點 63"/>
              <p:cNvCxnSpPr>
                <a:stCxn id="63" idx="4"/>
                <a:endCxn id="51" idx="0"/>
              </p:cNvCxnSpPr>
              <p:nvPr/>
            </p:nvCxnSpPr>
            <p:spPr>
              <a:xfrm>
                <a:off x="1395594" y="2621280"/>
                <a:ext cx="4725" cy="1102313"/>
              </a:xfrm>
              <a:prstGeom prst="line">
                <a:avLst/>
              </a:prstGeom>
              <a:ln w="28575">
                <a:solidFill>
                  <a:srgbClr val="AB85B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文字方塊 47"/>
            <p:cNvSpPr txBox="1"/>
            <p:nvPr/>
          </p:nvSpPr>
          <p:spPr>
            <a:xfrm>
              <a:off x="6536412" y="2171124"/>
              <a:ext cx="753736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2000" dirty="0">
                  <a:solidFill>
                    <a:prstClr val="black"/>
                  </a:solidFill>
                  <a:cs typeface="Arial" panose="020B0604020202020204" pitchFamily="34" charset="0"/>
                </a:rPr>
                <a:t>減量</a:t>
              </a:r>
            </a:p>
          </p:txBody>
        </p:sp>
      </p:grpSp>
      <p:grpSp>
        <p:nvGrpSpPr>
          <p:cNvPr id="78" name="群組 77"/>
          <p:cNvGrpSpPr/>
          <p:nvPr/>
        </p:nvGrpSpPr>
        <p:grpSpPr>
          <a:xfrm flipV="1">
            <a:off x="11017047" y="3961016"/>
            <a:ext cx="972000" cy="2289269"/>
            <a:chOff x="909594" y="1650324"/>
            <a:chExt cx="972000" cy="2289269"/>
          </a:xfrm>
        </p:grpSpPr>
        <p:sp>
          <p:nvSpPr>
            <p:cNvPr id="80" name="橢圓 79"/>
            <p:cNvSpPr/>
            <p:nvPr/>
          </p:nvSpPr>
          <p:spPr>
            <a:xfrm>
              <a:off x="1292319" y="3723593"/>
              <a:ext cx="216000" cy="216000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橢圓 80"/>
            <p:cNvSpPr/>
            <p:nvPr/>
          </p:nvSpPr>
          <p:spPr>
            <a:xfrm>
              <a:off x="909594" y="1650324"/>
              <a:ext cx="972000" cy="970956"/>
            </a:xfrm>
            <a:prstGeom prst="ellipse">
              <a:avLst/>
            </a:prstGeom>
            <a:solidFill>
              <a:srgbClr val="FFFFFF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82" name="直線接點 81"/>
            <p:cNvCxnSpPr>
              <a:stCxn id="81" idx="4"/>
              <a:endCxn id="80" idx="0"/>
            </p:cNvCxnSpPr>
            <p:nvPr/>
          </p:nvCxnSpPr>
          <p:spPr>
            <a:xfrm>
              <a:off x="1395594" y="2621280"/>
              <a:ext cx="4725" cy="1102313"/>
            </a:xfrm>
            <a:prstGeom prst="line">
              <a:avLst/>
            </a:prstGeom>
            <a:ln w="285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文字方塊 78"/>
          <p:cNvSpPr txBox="1"/>
          <p:nvPr/>
        </p:nvSpPr>
        <p:spPr>
          <a:xfrm>
            <a:off x="11166761" y="5553743"/>
            <a:ext cx="697627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zh-TW" altLang="en-US" sz="2000" dirty="0">
                <a:solidFill>
                  <a:prstClr val="black"/>
                </a:solidFill>
                <a:cs typeface="Arial" panose="020B0604020202020204" pitchFamily="34" charset="0"/>
              </a:rPr>
              <a:t>驗證</a:t>
            </a:r>
          </a:p>
        </p:txBody>
      </p:sp>
      <p:sp>
        <p:nvSpPr>
          <p:cNvPr id="84" name="矩形 83"/>
          <p:cNvSpPr/>
          <p:nvPr/>
        </p:nvSpPr>
        <p:spPr>
          <a:xfrm>
            <a:off x="8380334" y="4274342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600" b="1" dirty="0">
                <a:solidFill>
                  <a:srgbClr val="AB85BF"/>
                </a:solidFill>
                <a:cs typeface="Arial" panose="020B0604020202020204" pitchFamily="34" charset="0"/>
              </a:rPr>
              <a:t>企業減碳作法與技術</a:t>
            </a:r>
            <a:endParaRPr lang="en-US" altLang="zh-TW" sz="1600" b="1" dirty="0">
              <a:solidFill>
                <a:srgbClr val="AB85BF"/>
              </a:solidFill>
              <a:cs typeface="Arial" panose="020B0604020202020204" pitchFamily="34" charset="0"/>
            </a:endParaRPr>
          </a:p>
        </p:txBody>
      </p:sp>
      <p:grpSp>
        <p:nvGrpSpPr>
          <p:cNvPr id="86" name="群組 85"/>
          <p:cNvGrpSpPr/>
          <p:nvPr/>
        </p:nvGrpSpPr>
        <p:grpSpPr>
          <a:xfrm>
            <a:off x="7759416" y="4667176"/>
            <a:ext cx="3171141" cy="1985159"/>
            <a:chOff x="1415726" y="2613764"/>
            <a:chExt cx="3171141" cy="1985159"/>
          </a:xfrm>
        </p:grpSpPr>
        <p:sp>
          <p:nvSpPr>
            <p:cNvPr id="87" name="文字方塊 86"/>
            <p:cNvSpPr txBox="1"/>
            <p:nvPr/>
          </p:nvSpPr>
          <p:spPr>
            <a:xfrm>
              <a:off x="1415726" y="2613764"/>
              <a:ext cx="1567519" cy="19851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循環經濟思維與趨勢與商業模式案例分析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循環經濟的物質循環作法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循環經濟的能源循環作法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各國能源政策及執行經驗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8" name="矩形 87"/>
            <p:cNvSpPr/>
            <p:nvPr/>
          </p:nvSpPr>
          <p:spPr>
            <a:xfrm>
              <a:off x="3004754" y="2613764"/>
              <a:ext cx="1582113" cy="17697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zh-TW" sz="1200" b="1" dirty="0">
                  <a:solidFill>
                    <a:prstClr val="black"/>
                  </a:solidFill>
                </a:rPr>
                <a:t>節能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創能（再生能源）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儲能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智慧電網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負碳技術（</a:t>
              </a:r>
              <a:r>
                <a:rPr lang="en-US" altLang="zh-TW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CCS</a:t>
              </a: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）</a:t>
              </a:r>
              <a:endParaRPr lang="en-US" altLang="zh-TW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endParaRPr>
            </a:p>
            <a:p>
              <a:pPr marL="285744" indent="-285744" algn="just">
                <a:spcAft>
                  <a:spcPts val="600"/>
                </a:spcAft>
                <a:buFont typeface="Wingdings" panose="05000000000000000000" pitchFamily="2" charset="2"/>
                <a:buChar char="n"/>
              </a:pPr>
              <a:r>
                <a:rPr lang="zh-TW" altLang="en-US" sz="1200" b="1" dirty="0">
                  <a:solidFill>
                    <a:prstClr val="black">
                      <a:lumMod val="75000"/>
                      <a:lumOff val="25000"/>
                    </a:prstClr>
                  </a:solidFill>
                  <a:cs typeface="Arial" panose="020B0604020202020204" pitchFamily="34" charset="0"/>
                </a:rPr>
                <a:t>負碳技術（植林、農業）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718200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E094F465-DD88-70E1-6FC9-0BAB96AC1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661AE6-32E0-4D9A-8B9E-05894A0EDE4A}" type="slidenum">
              <a:rPr lang="en-US" altLang="zh-TW" smtClean="0"/>
              <a:pPr>
                <a:defRPr/>
              </a:pPr>
              <a:t>55</a:t>
            </a:fld>
            <a:endParaRPr lang="en-US" altLang="zh-TW" dirty="0"/>
          </a:p>
        </p:txBody>
      </p:sp>
      <p:sp>
        <p:nvSpPr>
          <p:cNvPr id="7" name="文字版面配置區 6">
            <a:extLst>
              <a:ext uri="{FF2B5EF4-FFF2-40B4-BE49-F238E27FC236}">
                <a16:creationId xmlns:a16="http://schemas.microsoft.com/office/drawing/2014/main" id="{3A1F7B6A-F0F5-D35E-B930-85DF5DF971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r>
              <a:rPr kumimoji="1" lang="zh-TW" altLang="en-US" sz="44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的角色：以服飾業為例</a:t>
            </a:r>
            <a:endParaRPr kumimoji="1" lang="en-US" altLang="zh-TW" sz="44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3670384"/>
      </p:ext>
    </p:extLst>
  </p:cSld>
  <p:clrMapOvr>
    <a:masterClrMapping/>
  </p:clrMapOvr>
  <p:transition spd="slow">
    <p:cover dir="u"/>
  </p:transition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矩形: 摺角紙張 18">
            <a:extLst>
              <a:ext uri="{FF2B5EF4-FFF2-40B4-BE49-F238E27FC236}">
                <a16:creationId xmlns:a16="http://schemas.microsoft.com/office/drawing/2014/main" id="{555785B4-9CA2-447D-AC3A-98FC2B9B81D9}"/>
              </a:ext>
            </a:extLst>
          </p:cNvPr>
          <p:cNvSpPr/>
          <p:nvPr/>
        </p:nvSpPr>
        <p:spPr>
          <a:xfrm>
            <a:off x="1396965" y="4041216"/>
            <a:ext cx="5590976" cy="2015936"/>
          </a:xfrm>
          <a:prstGeom prst="foldedCorner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9" name="矩形: 摺角紙張 18">
            <a:extLst>
              <a:ext uri="{FF2B5EF4-FFF2-40B4-BE49-F238E27FC236}">
                <a16:creationId xmlns:a16="http://schemas.microsoft.com/office/drawing/2014/main" id="{555785B4-9CA2-447D-AC3A-98FC2B9B81D9}"/>
              </a:ext>
            </a:extLst>
          </p:cNvPr>
          <p:cNvSpPr/>
          <p:nvPr/>
        </p:nvSpPr>
        <p:spPr>
          <a:xfrm>
            <a:off x="1396965" y="1841103"/>
            <a:ext cx="5590976" cy="1375639"/>
          </a:xfrm>
          <a:prstGeom prst="foldedCorner">
            <a:avLst/>
          </a:prstGeom>
          <a:ln w="1905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6" name="橢圓 15">
            <a:extLst>
              <a:ext uri="{FF2B5EF4-FFF2-40B4-BE49-F238E27FC236}">
                <a16:creationId xmlns:a16="http://schemas.microsoft.com/office/drawing/2014/main" id="{6B333AEF-117B-4871-A12B-0E8371658CCD}"/>
              </a:ext>
            </a:extLst>
          </p:cNvPr>
          <p:cNvSpPr/>
          <p:nvPr/>
        </p:nvSpPr>
        <p:spPr>
          <a:xfrm>
            <a:off x="549951" y="3242483"/>
            <a:ext cx="769164" cy="77213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472F3D1D-C57F-49C1-A392-ED4E581AE430}"/>
              </a:ext>
            </a:extLst>
          </p:cNvPr>
          <p:cNvSpPr txBox="1"/>
          <p:nvPr/>
        </p:nvSpPr>
        <p:spPr>
          <a:xfrm>
            <a:off x="679794" y="150834"/>
            <a:ext cx="42883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49B6"/>
                </a:solidFill>
                <a:effectLst/>
                <a:uLnTx/>
                <a:uFillTx/>
                <a:latin typeface="新細明體" panose="02020500000000000000" pitchFamily="18" charset="-120"/>
                <a:ea typeface="微軟正黑體" panose="020B0604030504040204" pitchFamily="34" charset="-120"/>
                <a:cs typeface="Heiti TC Medium"/>
              </a:rPr>
              <a:t>循環經濟發展─服飾業</a:t>
            </a:r>
          </a:p>
        </p:txBody>
      </p:sp>
      <p:pic>
        <p:nvPicPr>
          <p:cNvPr id="5" name="图片 10">
            <a:extLst>
              <a:ext uri="{FF2B5EF4-FFF2-40B4-BE49-F238E27FC236}">
                <a16:creationId xmlns:a16="http://schemas.microsoft.com/office/drawing/2014/main" id="{A9ED0A36-CC45-404A-8664-F44EF6A0B5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3481"/>
          <a:stretch/>
        </p:blipFill>
        <p:spPr>
          <a:xfrm>
            <a:off x="1871137" y="6154931"/>
            <a:ext cx="8449731" cy="694603"/>
          </a:xfrm>
          <a:prstGeom prst="rect">
            <a:avLst/>
          </a:prstGeom>
        </p:spPr>
      </p:pic>
      <p:pic>
        <p:nvPicPr>
          <p:cNvPr id="6" name="图片 31">
            <a:extLst>
              <a:ext uri="{FF2B5EF4-FFF2-40B4-BE49-F238E27FC236}">
                <a16:creationId xmlns:a16="http://schemas.microsoft.com/office/drawing/2014/main" id="{6DD30F65-89F0-48FF-8DBC-FF8E33098E0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65193" y="233703"/>
            <a:ext cx="848303" cy="380899"/>
          </a:xfrm>
          <a:prstGeom prst="rect">
            <a:avLst/>
          </a:prstGeom>
        </p:spPr>
      </p:pic>
      <p:sp>
        <p:nvSpPr>
          <p:cNvPr id="10" name="橢圓 9">
            <a:extLst>
              <a:ext uri="{FF2B5EF4-FFF2-40B4-BE49-F238E27FC236}">
                <a16:creationId xmlns:a16="http://schemas.microsoft.com/office/drawing/2014/main" id="{6B333AEF-117B-4871-A12B-0E8371658CCD}"/>
              </a:ext>
            </a:extLst>
          </p:cNvPr>
          <p:cNvSpPr/>
          <p:nvPr/>
        </p:nvSpPr>
        <p:spPr>
          <a:xfrm>
            <a:off x="549951" y="1094001"/>
            <a:ext cx="769164" cy="772136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11" name="圖片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0" r="46454" b="1716"/>
          <a:stretch/>
        </p:blipFill>
        <p:spPr>
          <a:xfrm>
            <a:off x="549953" y="1118505"/>
            <a:ext cx="718591" cy="723129"/>
          </a:xfrm>
          <a:prstGeom prst="rect">
            <a:avLst/>
          </a:prstGeom>
        </p:spPr>
      </p:pic>
      <p:sp>
        <p:nvSpPr>
          <p:cNvPr id="12" name="文字方塊 11">
            <a:extLst>
              <a:ext uri="{FF2B5EF4-FFF2-40B4-BE49-F238E27FC236}">
                <a16:creationId xmlns:a16="http://schemas.microsoft.com/office/drawing/2014/main" id="{5CD05519-EAD7-4C62-B7C6-889F5A1D15A5}"/>
              </a:ext>
            </a:extLst>
          </p:cNvPr>
          <p:cNvSpPr txBox="1"/>
          <p:nvPr/>
        </p:nvSpPr>
        <p:spPr>
          <a:xfrm>
            <a:off x="1336385" y="1218457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背景</a:t>
            </a: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1401151" y="1817489"/>
            <a:ext cx="550978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民眾無法上街、大量訂單取消及供應鏈中斷，服裝零售業因此受到影響。業者苦思如何消化庫存服飾，民眾也開始反思快時尚帶來的環境影響。</a:t>
            </a:r>
          </a:p>
        </p:txBody>
      </p:sp>
      <p:sp>
        <p:nvSpPr>
          <p:cNvPr id="14" name="矩形 13"/>
          <p:cNvSpPr/>
          <p:nvPr/>
        </p:nvSpPr>
        <p:spPr>
          <a:xfrm>
            <a:off x="1493440" y="4062795"/>
            <a:ext cx="5398027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根據艾倫麥克阿瑟基金會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(2017)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描述，每年用於生產服飾的材料中，僅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1%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被回收再利用，相當於每年損失約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1,000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億美元的原物料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生產服飾的纖維需要消耗大量水資源，染料的使用容易破壞環境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5CD05519-EAD7-4C62-B7C6-889F5A1D15A5}"/>
              </a:ext>
            </a:extLst>
          </p:cNvPr>
          <p:cNvSpPr txBox="1"/>
          <p:nvPr/>
        </p:nvSpPr>
        <p:spPr>
          <a:xfrm>
            <a:off x="1336383" y="334875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困境</a:t>
            </a:r>
          </a:p>
        </p:txBody>
      </p:sp>
      <p:pic>
        <p:nvPicPr>
          <p:cNvPr id="1026" name="Picture 2" descr="從數字來看，快時尚的汙染比我們想像的更嚴重- HEAVEN RAVEN - HEAVEN RA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07" y="929514"/>
            <a:ext cx="3679059" cy="235827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圖片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" r="43356"/>
          <a:stretch/>
        </p:blipFill>
        <p:spPr>
          <a:xfrm>
            <a:off x="593921" y="3264566"/>
            <a:ext cx="681225" cy="691593"/>
          </a:xfrm>
          <a:prstGeom prst="rect">
            <a:avLst/>
          </a:prstGeom>
        </p:spPr>
      </p:pic>
      <p:pic>
        <p:nvPicPr>
          <p:cNvPr id="1028" name="Picture 4" descr="快速時尚」汙染地球製衣過程染劑傷環境│TVBS新聞網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385" y="3656163"/>
            <a:ext cx="3722480" cy="249876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16192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TW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047F9-E076-4251-AB4C-B5D0FCD1361B}" type="slidenum">
              <a:rPr kumimoji="0" lang="zh-TW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zh-TW" alt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594113"/>
      </p:ext>
    </p:extLst>
  </p:cSld>
  <p:clrMapOvr>
    <a:masterClrMapping/>
  </p:clrMapOvr>
  <p:transition spd="slow">
    <p:push dir="u"/>
  </p:transition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472F3D1D-C57F-49C1-A392-ED4E581AE430}"/>
              </a:ext>
            </a:extLst>
          </p:cNvPr>
          <p:cNvSpPr txBox="1"/>
          <p:nvPr/>
        </p:nvSpPr>
        <p:spPr>
          <a:xfrm>
            <a:off x="731367" y="247189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49B6"/>
                </a:solidFill>
                <a:effectLst/>
                <a:uLnTx/>
                <a:uFillTx/>
                <a:latin typeface="新細明體" panose="02020500000000000000" pitchFamily="18" charset="-120"/>
                <a:ea typeface="微軟正黑體" panose="020B0604030504040204" pitchFamily="34" charset="-120"/>
                <a:cs typeface="Heiti TC Medium"/>
              </a:rPr>
              <a:t>因應循環經濟的作為</a:t>
            </a:r>
          </a:p>
        </p:txBody>
      </p:sp>
      <p:pic>
        <p:nvPicPr>
          <p:cNvPr id="5" name="图片 31">
            <a:extLst>
              <a:ext uri="{FF2B5EF4-FFF2-40B4-BE49-F238E27FC236}">
                <a16:creationId xmlns:a16="http://schemas.microsoft.com/office/drawing/2014/main" id="{6DD30F65-89F0-48FF-8DBC-FF8E33098E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65193" y="233703"/>
            <a:ext cx="848303" cy="380899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5CD05519-EAD7-4C62-B7C6-889F5A1D15A5}"/>
              </a:ext>
            </a:extLst>
          </p:cNvPr>
          <p:cNvSpPr txBox="1"/>
          <p:nvPr/>
        </p:nvSpPr>
        <p:spPr>
          <a:xfrm>
            <a:off x="1500530" y="1331936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通路商相關作法</a:t>
            </a:r>
          </a:p>
        </p:txBody>
      </p:sp>
      <p:pic>
        <p:nvPicPr>
          <p:cNvPr id="9" name="图片 10">
            <a:extLst>
              <a:ext uri="{FF2B5EF4-FFF2-40B4-BE49-F238E27FC236}">
                <a16:creationId xmlns:a16="http://schemas.microsoft.com/office/drawing/2014/main" id="{A9ED0A36-CC45-404A-8664-F44EF6A0B5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3481"/>
          <a:stretch/>
        </p:blipFill>
        <p:spPr>
          <a:xfrm>
            <a:off x="1871137" y="6167123"/>
            <a:ext cx="8449731" cy="694603"/>
          </a:xfrm>
          <a:prstGeom prst="rect">
            <a:avLst/>
          </a:prstGeom>
        </p:spPr>
      </p:pic>
      <p:sp>
        <p:nvSpPr>
          <p:cNvPr id="12" name="橢圓 11">
            <a:extLst>
              <a:ext uri="{FF2B5EF4-FFF2-40B4-BE49-F238E27FC236}">
                <a16:creationId xmlns:a16="http://schemas.microsoft.com/office/drawing/2014/main" id="{6B333AEF-117B-4871-A12B-0E8371658CCD}"/>
              </a:ext>
            </a:extLst>
          </p:cNvPr>
          <p:cNvSpPr/>
          <p:nvPr/>
        </p:nvSpPr>
        <p:spPr>
          <a:xfrm>
            <a:off x="731367" y="1207479"/>
            <a:ext cx="769164" cy="77213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13" name="圖片 12">
            <a:extLst>
              <a:ext uri="{FF2B5EF4-FFF2-40B4-BE49-F238E27FC236}">
                <a16:creationId xmlns:a16="http://schemas.microsoft.com/office/drawing/2014/main" id="{AB0E1A64-A88E-4B3B-9457-0747C0C0D7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6646" y="1321780"/>
            <a:ext cx="509405" cy="54774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7" name="圖片 16"/>
          <p:cNvPicPr>
            <a:picLocks noChangeAspect="1"/>
          </p:cNvPicPr>
          <p:nvPr/>
        </p:nvPicPr>
        <p:blipFill rotWithShape="1">
          <a:blip r:embed="rId6"/>
          <a:srcRect l="42412" t="41820" r="42482" b="31702"/>
          <a:stretch/>
        </p:blipFill>
        <p:spPr>
          <a:xfrm>
            <a:off x="513619" y="2351158"/>
            <a:ext cx="833555" cy="821815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文字方塊 17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1623031" y="2419199"/>
            <a:ext cx="3471228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位於倫敦的電商</a:t>
            </a:r>
            <a:r>
              <a:rPr kumimoji="0" lang="en-US" altLang="zh-TW" sz="20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Farfetch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表示，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業者如通過搖籃到搖籃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(cradle to cradle)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認證，會將其產品介紹放置在醒目介面，增加產品曝光度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Good On You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機構合作，透過正面意識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(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Positively Conscious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)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的標誌，讓消費者能選擇較為環保服飾購買。</a:t>
            </a:r>
          </a:p>
        </p:txBody>
      </p:sp>
      <p:pic>
        <p:nvPicPr>
          <p:cNvPr id="19" name="圖片 18"/>
          <p:cNvPicPr>
            <a:picLocks noChangeAspect="1"/>
          </p:cNvPicPr>
          <p:nvPr/>
        </p:nvPicPr>
        <p:blipFill rotWithShape="1">
          <a:blip r:embed="rId7"/>
          <a:srcRect l="42291" t="40865" r="42362" b="32469"/>
          <a:stretch/>
        </p:blipFill>
        <p:spPr>
          <a:xfrm>
            <a:off x="5845477" y="2351157"/>
            <a:ext cx="833555" cy="814696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1588731" y="2351158"/>
            <a:ext cx="3656600" cy="3622860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7444711" y="2457298"/>
            <a:ext cx="34712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Positive Luxury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與共同理念的企業合作，致力提倡永續發展。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7410411" y="2351157"/>
            <a:ext cx="3656600" cy="1159904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7" name="圖片 26"/>
          <p:cNvPicPr>
            <a:picLocks noChangeAspect="1"/>
          </p:cNvPicPr>
          <p:nvPr/>
        </p:nvPicPr>
        <p:blipFill rotWithShape="1">
          <a:blip r:embed="rId8"/>
          <a:srcRect l="42569" t="44691" r="42292" b="35803"/>
          <a:stretch/>
        </p:blipFill>
        <p:spPr>
          <a:xfrm>
            <a:off x="5832777" y="4031809"/>
            <a:ext cx="853395" cy="814696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8" name="文字方塊 27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7444711" y="4082914"/>
            <a:ext cx="34712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英國的百貨公司</a:t>
            </a:r>
            <a:r>
              <a:rPr kumimoji="0" lang="en-US" altLang="zh-TW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Selfridges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提倡</a:t>
            </a:r>
            <a:r>
              <a:rPr kumimoji="0" lang="zh-TW" alt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租賃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模式銷售服飾，並能回收舊衣物進行修復，並鼓勵消費者購買具永續性服飾。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7410411" y="4031809"/>
            <a:ext cx="3656600" cy="1682320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16192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TW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047F9-E076-4251-AB4C-B5D0FCD1361B}" type="slidenum">
              <a:rPr kumimoji="0" lang="zh-TW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zh-TW" alt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171504"/>
      </p:ext>
    </p:extLst>
  </p:cSld>
  <p:clrMapOvr>
    <a:masterClrMapping/>
  </p:clrMapOvr>
  <p:transition spd="med"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472F3D1D-C57F-49C1-A392-ED4E581AE430}"/>
              </a:ext>
            </a:extLst>
          </p:cNvPr>
          <p:cNvSpPr txBox="1"/>
          <p:nvPr/>
        </p:nvSpPr>
        <p:spPr>
          <a:xfrm>
            <a:off x="679794" y="143221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49B6"/>
                </a:solidFill>
                <a:effectLst/>
                <a:uLnTx/>
                <a:uFillTx/>
                <a:latin typeface="新細明體" panose="02020500000000000000" pitchFamily="18" charset="-120"/>
                <a:ea typeface="微軟正黑體" panose="020B0604030504040204" pitchFamily="34" charset="-120"/>
                <a:cs typeface="Heiti TC Medium"/>
              </a:rPr>
              <a:t>因應循環經濟的作為</a:t>
            </a:r>
          </a:p>
        </p:txBody>
      </p:sp>
      <p:pic>
        <p:nvPicPr>
          <p:cNvPr id="5" name="图片 31">
            <a:extLst>
              <a:ext uri="{FF2B5EF4-FFF2-40B4-BE49-F238E27FC236}">
                <a16:creationId xmlns:a16="http://schemas.microsoft.com/office/drawing/2014/main" id="{6DD30F65-89F0-48FF-8DBC-FF8E33098E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65193" y="233703"/>
            <a:ext cx="848303" cy="380899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5CD05519-EAD7-4C62-B7C6-889F5A1D15A5}"/>
              </a:ext>
            </a:extLst>
          </p:cNvPr>
          <p:cNvSpPr txBox="1"/>
          <p:nvPr/>
        </p:nvSpPr>
        <p:spPr>
          <a:xfrm>
            <a:off x="1500531" y="1161248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品牌商相關作法</a:t>
            </a:r>
          </a:p>
        </p:txBody>
      </p:sp>
      <p:pic>
        <p:nvPicPr>
          <p:cNvPr id="9" name="图片 10">
            <a:extLst>
              <a:ext uri="{FF2B5EF4-FFF2-40B4-BE49-F238E27FC236}">
                <a16:creationId xmlns:a16="http://schemas.microsoft.com/office/drawing/2014/main" id="{A9ED0A36-CC45-404A-8664-F44EF6A0B5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3481"/>
          <a:stretch/>
        </p:blipFill>
        <p:spPr>
          <a:xfrm>
            <a:off x="1871136" y="6163397"/>
            <a:ext cx="8449731" cy="694603"/>
          </a:xfrm>
          <a:prstGeom prst="rect">
            <a:avLst/>
          </a:prstGeom>
        </p:spPr>
      </p:pic>
      <p:sp>
        <p:nvSpPr>
          <p:cNvPr id="12" name="橢圓 11">
            <a:extLst>
              <a:ext uri="{FF2B5EF4-FFF2-40B4-BE49-F238E27FC236}">
                <a16:creationId xmlns:a16="http://schemas.microsoft.com/office/drawing/2014/main" id="{6B333AEF-117B-4871-A12B-0E8371658CCD}"/>
              </a:ext>
            </a:extLst>
          </p:cNvPr>
          <p:cNvSpPr/>
          <p:nvPr/>
        </p:nvSpPr>
        <p:spPr>
          <a:xfrm>
            <a:off x="731367" y="1036791"/>
            <a:ext cx="769164" cy="77213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1669059" y="2920188"/>
            <a:ext cx="3471228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使用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PET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容器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製成</a:t>
            </a:r>
            <a:r>
              <a:rPr kumimoji="0" lang="zh-TW" altLang="en-US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可回收的聚脂纖維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根據</a:t>
            </a:r>
            <a:r>
              <a:rPr kumimoji="0" lang="en-US" altLang="zh-TW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Lefrik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表示，於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19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回收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100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萬個塑膠容器製成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8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萬個背包。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1620481" y="2775949"/>
            <a:ext cx="3656600" cy="189902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7444711" y="1305535"/>
            <a:ext cx="3471228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Nike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以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15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為基準，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訂定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30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減少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65%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範疇一及範疇二溫室氣體排放量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zh-TW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Kering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同樣以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15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為基準，訂定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30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減少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50%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範疇一及範疇二溫室氣體排放量。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7410411" y="1161293"/>
            <a:ext cx="3656600" cy="246795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0" name="圖片 19">
            <a:extLst>
              <a:ext uri="{FF2B5EF4-FFF2-40B4-BE49-F238E27FC236}">
                <a16:creationId xmlns:a16="http://schemas.microsoft.com/office/drawing/2014/main" id="{E3E9D651-7512-46B4-9212-3E6A41890D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014" y="1069606"/>
            <a:ext cx="573871" cy="61486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5"/>
          <a:srcRect l="41241" t="38794" r="41312" b="30946"/>
          <a:stretch/>
        </p:blipFill>
        <p:spPr>
          <a:xfrm>
            <a:off x="489343" y="2619382"/>
            <a:ext cx="852015" cy="831233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圖片 2"/>
          <p:cNvPicPr>
            <a:picLocks noChangeAspect="1"/>
          </p:cNvPicPr>
          <p:nvPr/>
        </p:nvPicPr>
        <p:blipFill rotWithShape="1">
          <a:blip r:embed="rId6"/>
          <a:srcRect l="42199" t="40874" r="42376" b="32459"/>
          <a:stretch/>
        </p:blipFill>
        <p:spPr>
          <a:xfrm>
            <a:off x="489343" y="3901130"/>
            <a:ext cx="863724" cy="839897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圖片 5"/>
          <p:cNvPicPr>
            <a:picLocks noChangeAspect="1"/>
          </p:cNvPicPr>
          <p:nvPr/>
        </p:nvPicPr>
        <p:blipFill rotWithShape="1">
          <a:blip r:embed="rId7"/>
          <a:srcRect l="36347" t="28308" r="35248" b="23190"/>
          <a:stretch/>
        </p:blipFill>
        <p:spPr>
          <a:xfrm>
            <a:off x="6216918" y="1161294"/>
            <a:ext cx="852015" cy="818351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圖片 6"/>
          <p:cNvPicPr>
            <a:picLocks noChangeAspect="1"/>
          </p:cNvPicPr>
          <p:nvPr/>
        </p:nvPicPr>
        <p:blipFill rotWithShape="1">
          <a:blip r:embed="rId8"/>
          <a:srcRect l="41527" t="40123" r="41667" b="30988"/>
          <a:stretch/>
        </p:blipFill>
        <p:spPr>
          <a:xfrm>
            <a:off x="6200293" y="2432559"/>
            <a:ext cx="883279" cy="854080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圖片 9"/>
          <p:cNvPicPr>
            <a:picLocks noChangeAspect="1"/>
          </p:cNvPicPr>
          <p:nvPr/>
        </p:nvPicPr>
        <p:blipFill rotWithShape="1">
          <a:blip r:embed="rId9"/>
          <a:srcRect l="39964" t="41064" r="39929" b="32459"/>
          <a:stretch/>
        </p:blipFill>
        <p:spPr>
          <a:xfrm>
            <a:off x="6096002" y="3989107"/>
            <a:ext cx="1098148" cy="813443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文字方塊 22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7444711" y="4019256"/>
            <a:ext cx="3471228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該協議有三大承諾，分別為全球暖化、生物多樣性及保護海洋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在 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30 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前消除一次性塑料的使用；並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希望在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050 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年前成為零碳足跡的公司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7410411" y="3989105"/>
            <a:ext cx="3656600" cy="2336171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1" name="投影片編號版面配置區 10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16192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TW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047F9-E076-4251-AB4C-B5D0FCD1361B}" type="slidenum">
              <a:rPr kumimoji="0" lang="zh-TW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zh-TW" alt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478155"/>
      </p:ext>
    </p:extLst>
  </p:cSld>
  <p:clrMapOvr>
    <a:masterClrMapping/>
  </p:clrMapOvr>
  <p:transition spd="med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字方塊 3">
            <a:extLst>
              <a:ext uri="{FF2B5EF4-FFF2-40B4-BE49-F238E27FC236}">
                <a16:creationId xmlns:a16="http://schemas.microsoft.com/office/drawing/2014/main" id="{472F3D1D-C57F-49C1-A392-ED4E581AE430}"/>
              </a:ext>
            </a:extLst>
          </p:cNvPr>
          <p:cNvSpPr txBox="1"/>
          <p:nvPr/>
        </p:nvSpPr>
        <p:spPr>
          <a:xfrm>
            <a:off x="679794" y="175847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49B6"/>
                </a:solidFill>
                <a:effectLst/>
                <a:uLnTx/>
                <a:uFillTx/>
                <a:latin typeface="新細明體" panose="02020500000000000000" pitchFamily="18" charset="-120"/>
                <a:ea typeface="微軟正黑體" panose="020B0604030504040204" pitchFamily="34" charset="-120"/>
                <a:cs typeface="Heiti TC Medium"/>
              </a:rPr>
              <a:t>因應循環經濟的作為</a:t>
            </a:r>
          </a:p>
        </p:txBody>
      </p:sp>
      <p:pic>
        <p:nvPicPr>
          <p:cNvPr id="5" name="图片 31">
            <a:extLst>
              <a:ext uri="{FF2B5EF4-FFF2-40B4-BE49-F238E27FC236}">
                <a16:creationId xmlns:a16="http://schemas.microsoft.com/office/drawing/2014/main" id="{6DD30F65-89F0-48FF-8DBC-FF8E33098E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65193" y="233703"/>
            <a:ext cx="848303" cy="380899"/>
          </a:xfrm>
          <a:prstGeom prst="rect">
            <a:avLst/>
          </a:prstGeom>
        </p:spPr>
      </p:pic>
      <p:sp>
        <p:nvSpPr>
          <p:cNvPr id="8" name="文字方塊 7">
            <a:extLst>
              <a:ext uri="{FF2B5EF4-FFF2-40B4-BE49-F238E27FC236}">
                <a16:creationId xmlns:a16="http://schemas.microsoft.com/office/drawing/2014/main" id="{5CD05519-EAD7-4C62-B7C6-889F5A1D15A5}"/>
              </a:ext>
            </a:extLst>
          </p:cNvPr>
          <p:cNvSpPr txBox="1"/>
          <p:nvPr/>
        </p:nvSpPr>
        <p:spPr>
          <a:xfrm>
            <a:off x="1500531" y="1161248"/>
            <a:ext cx="26981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製造商相關作法</a:t>
            </a:r>
          </a:p>
        </p:txBody>
      </p:sp>
      <p:pic>
        <p:nvPicPr>
          <p:cNvPr id="9" name="图片 10">
            <a:extLst>
              <a:ext uri="{FF2B5EF4-FFF2-40B4-BE49-F238E27FC236}">
                <a16:creationId xmlns:a16="http://schemas.microsoft.com/office/drawing/2014/main" id="{A9ED0A36-CC45-404A-8664-F44EF6A0B5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3481"/>
          <a:stretch/>
        </p:blipFill>
        <p:spPr>
          <a:xfrm>
            <a:off x="1871137" y="6154931"/>
            <a:ext cx="8449731" cy="694603"/>
          </a:xfrm>
          <a:prstGeom prst="rect">
            <a:avLst/>
          </a:prstGeom>
        </p:spPr>
      </p:pic>
      <p:sp>
        <p:nvSpPr>
          <p:cNvPr id="12" name="橢圓 11">
            <a:extLst>
              <a:ext uri="{FF2B5EF4-FFF2-40B4-BE49-F238E27FC236}">
                <a16:creationId xmlns:a16="http://schemas.microsoft.com/office/drawing/2014/main" id="{6B333AEF-117B-4871-A12B-0E8371658CCD}"/>
              </a:ext>
            </a:extLst>
          </p:cNvPr>
          <p:cNvSpPr/>
          <p:nvPr/>
        </p:nvSpPr>
        <p:spPr>
          <a:xfrm>
            <a:off x="731367" y="1036791"/>
            <a:ext cx="769164" cy="77213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1713167" y="2383631"/>
            <a:ext cx="3471228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位於義大利的生產商</a:t>
            </a:r>
            <a:r>
              <a:rPr kumimoji="0" lang="en-US" altLang="zh-TW" sz="20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Aquafil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，將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海洋廢棄物及工廠廢料製成可再利用的再生尼龍</a:t>
            </a:r>
            <a:r>
              <a:rPr kumimoji="0" lang="en-US" altLang="zh-TW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Econyl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，此尼龍可減少石化原料的使用，另一方面可確保廢棄的漁網及地毯纖維等不會進入海洋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此特點讓品牌商如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Prada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等開始採用</a:t>
            </a:r>
            <a:r>
              <a:rPr kumimoji="0" lang="en-US" altLang="zh-TW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Econyl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生產服飾。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1620481" y="2337035"/>
            <a:ext cx="3656600" cy="3601416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5" name="文字方塊 24">
            <a:extLst>
              <a:ext uri="{FF2B5EF4-FFF2-40B4-BE49-F238E27FC236}">
                <a16:creationId xmlns:a16="http://schemas.microsoft.com/office/drawing/2014/main" id="{4B8CDDF8-6061-4454-9EE7-2D2C5F5D2D96}"/>
              </a:ext>
            </a:extLst>
          </p:cNvPr>
          <p:cNvSpPr txBox="1"/>
          <p:nvPr/>
        </p:nvSpPr>
        <p:spPr>
          <a:xfrm>
            <a:off x="7444711" y="2528919"/>
            <a:ext cx="3471228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合作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生產名為「</a:t>
            </a: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ZOA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」的生物纖維，由植物衍生蛋白質製成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，與原生物料相比，消耗的水量更少。</a:t>
            </a:r>
            <a:endParaRPr kumimoji="0" lang="en-US" altLang="zh-TW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2891" marR="0" lvl="0" indent="-342891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Modern Meadow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更聲明其材料由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無溶劑製程</a:t>
            </a:r>
            <a:r>
              <a:rPr kumimoji="0" lang="zh-TW" alt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生產，其纖維更耐用，且能回收再利用。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E5545B6-4393-4201-B26F-36A6552432D5}"/>
              </a:ext>
            </a:extLst>
          </p:cNvPr>
          <p:cNvSpPr/>
          <p:nvPr/>
        </p:nvSpPr>
        <p:spPr>
          <a:xfrm>
            <a:off x="7444711" y="2337035"/>
            <a:ext cx="3656600" cy="2932680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457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0" name="圖片 19">
            <a:extLst>
              <a:ext uri="{FF2B5EF4-FFF2-40B4-BE49-F238E27FC236}">
                <a16:creationId xmlns:a16="http://schemas.microsoft.com/office/drawing/2014/main" id="{E3E9D651-7512-46B4-9212-3E6A41890D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014" y="1069606"/>
            <a:ext cx="573871" cy="61486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圖片 10"/>
          <p:cNvPicPr>
            <a:picLocks noChangeAspect="1"/>
          </p:cNvPicPr>
          <p:nvPr/>
        </p:nvPicPr>
        <p:blipFill rotWithShape="1">
          <a:blip r:embed="rId5"/>
          <a:srcRect l="42361" t="40987" r="42361" b="32099"/>
          <a:stretch/>
        </p:blipFill>
        <p:spPr>
          <a:xfrm>
            <a:off x="458382" y="2337037"/>
            <a:ext cx="869199" cy="861297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圖片 12"/>
          <p:cNvPicPr>
            <a:picLocks noChangeAspect="1"/>
          </p:cNvPicPr>
          <p:nvPr/>
        </p:nvPicPr>
        <p:blipFill rotWithShape="1">
          <a:blip r:embed="rId6"/>
          <a:srcRect l="38900" t="34726" r="38759" b="26785"/>
          <a:stretch/>
        </p:blipFill>
        <p:spPr>
          <a:xfrm>
            <a:off x="6096002" y="2337035"/>
            <a:ext cx="899701" cy="871920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圖片 13"/>
          <p:cNvPicPr>
            <a:picLocks noChangeAspect="1"/>
          </p:cNvPicPr>
          <p:nvPr/>
        </p:nvPicPr>
        <p:blipFill rotWithShape="1">
          <a:blip r:embed="rId7"/>
          <a:srcRect l="42349" t="40875" r="42269" b="32080"/>
          <a:stretch/>
        </p:blipFill>
        <p:spPr>
          <a:xfrm>
            <a:off x="6096001" y="3510191"/>
            <a:ext cx="919744" cy="909624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16192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TW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4047F9-E076-4251-AB4C-B5D0FCD1361B}" type="slidenum">
              <a:rPr kumimoji="0" lang="zh-TW" alt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zh-TW" altLang="en-US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583680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81664" y="-23758"/>
            <a:ext cx="10972137" cy="1325563"/>
          </a:xfrm>
        </p:spPr>
        <p:txBody>
          <a:bodyPr>
            <a:normAutofit/>
          </a:bodyPr>
          <a:lstStyle/>
          <a:p>
            <a:r>
              <a:rPr lang="en-US" altLang="zh-TW" sz="28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《</a:t>
            </a:r>
            <a:r>
              <a:rPr lang="zh-TW" altLang="en-US" sz="28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刺胳針倒數</a:t>
            </a:r>
            <a:r>
              <a:rPr lang="en-US" altLang="zh-TW" sz="28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》</a:t>
            </a:r>
            <a:r>
              <a:rPr lang="zh-TW" altLang="en-US" sz="2800" dirty="0"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：氣候變遷嚴重威脅人類健康，所有指標都在惡化！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838200" y="1124925"/>
            <a:ext cx="10490837" cy="4351339"/>
          </a:xfrm>
        </p:spPr>
        <p:txBody>
          <a:bodyPr>
            <a:normAutofit/>
          </a:bodyPr>
          <a:lstStyle/>
          <a:p>
            <a:pPr algn="just">
              <a:lnSpc>
                <a:spcPts val="2600"/>
              </a:lnSpc>
              <a:spcAft>
                <a:spcPts val="600"/>
              </a:spcAft>
            </a:pPr>
            <a:r>
              <a:rPr lang="en-US" altLang="zh-TW" sz="2000" b="1" dirty="0">
                <a:latin typeface="Arial" panose="020B0604020202020204" pitchFamily="34" charset="0"/>
                <a:cs typeface="Arial" panose="020B0604020202020204" pitchFamily="34" charset="0"/>
              </a:rPr>
              <a:t>《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刺胳針倒數</a:t>
            </a:r>
            <a:r>
              <a:rPr lang="en-US" altLang="zh-TW" sz="2000" b="1" dirty="0">
                <a:latin typeface="Arial" panose="020B0604020202020204" pitchFamily="34" charset="0"/>
                <a:cs typeface="Arial" panose="020B0604020202020204" pitchFamily="34" charset="0"/>
              </a:rPr>
              <a:t>》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是英國權威醫學期刊</a:t>
            </a:r>
            <a:r>
              <a:rPr lang="en-US" altLang="zh-TW" sz="2000" b="1" dirty="0">
                <a:latin typeface="Arial" panose="020B0604020202020204" pitchFamily="34" charset="0"/>
                <a:cs typeface="Arial" panose="020B0604020202020204" pitchFamily="34" charset="0"/>
              </a:rPr>
              <a:t>《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刺胳針</a:t>
            </a:r>
            <a:r>
              <a:rPr lang="en-US" altLang="zh-TW" sz="2000" b="1" dirty="0">
                <a:latin typeface="Arial" panose="020B0604020202020204" pitchFamily="34" charset="0"/>
                <a:cs typeface="Arial" panose="020B0604020202020204" pitchFamily="34" charset="0"/>
              </a:rPr>
              <a:t>》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與全球多個頂尖學術機構及聯合國專家合作的計畫，每年就</a:t>
            </a:r>
            <a:r>
              <a:rPr lang="zh-TW" alt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氣候變遷對人類健康的影響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發表報告。</a:t>
            </a:r>
            <a:endParaRPr lang="en-US" altLang="zh-TW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2600"/>
              </a:lnSpc>
            </a:pP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在今年的年度報告指出，包括</a:t>
            </a:r>
            <a:r>
              <a:rPr lang="zh-TW" alt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高溫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zh-TW" alt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極端氣候事件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zh-TW" alt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傳染病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zh-TW" alt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饑荒、空氣污染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等</a:t>
            </a:r>
            <a:r>
              <a:rPr lang="en-US" altLang="zh-TW" sz="2000" b="1" dirty="0">
                <a:latin typeface="Arial" panose="020B0604020202020204" pitchFamily="34" charset="0"/>
                <a:cs typeface="Arial" panose="020B0604020202020204" pitchFamily="34" charset="0"/>
              </a:rPr>
              <a:t>44</a:t>
            </a:r>
            <a:r>
              <a:rPr lang="zh-TW" alt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項與氣候變遷相關的全球健康指標都在惡化，導致全球數百萬人面臨生命危險。</a:t>
            </a:r>
            <a:endParaRPr lang="en-US" altLang="zh-TW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ts val="2400"/>
              </a:lnSpc>
              <a:buNone/>
            </a:pPr>
            <a:endParaRPr lang="en-US" altLang="zh-TW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0" name="Picture 6" descr="https://media.istockphoto.com/photos/heatwave-on-the-city-with-the-glowing-sun-background-picture-id1188307961?b=1&amp;k=20&amp;m=1188307961&amp;s=170667a&amp;w=0&amp;h=6aEslG5kltobOkBTkzhOSZkU3nf4RGUWK7aZiZxY-HM=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19" y="2903628"/>
            <a:ext cx="3420000" cy="2304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>
            <a:off x="799572" y="5342177"/>
            <a:ext cx="3477885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 defTabSz="60958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019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年有近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35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人死於高溫相關疾病。</a:t>
            </a:r>
            <a:endParaRPr lang="en-US" altLang="zh-TW" sz="16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285744" indent="-285744" defTabSz="609585">
              <a:buFont typeface="Arial" panose="020B0604020202020204" pitchFamily="34" charset="0"/>
              <a:buChar char="•"/>
            </a:pP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到了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1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世紀末，約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,100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人暴露在致命的高溫環境。</a:t>
            </a:r>
            <a:endParaRPr lang="en-US" altLang="zh-TW" sz="16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</p:txBody>
      </p:sp>
      <p:pic>
        <p:nvPicPr>
          <p:cNvPr id="5" name="圖片 4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4411228" y="2903628"/>
            <a:ext cx="3420000" cy="230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矩形 5"/>
          <p:cNvSpPr/>
          <p:nvPr/>
        </p:nvSpPr>
        <p:spPr>
          <a:xfrm>
            <a:off x="4339091" y="5342176"/>
            <a:ext cx="346695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 algn="just" defTabSz="609585">
              <a:buFont typeface="Arial" panose="020B0604020202020204" pitchFamily="34" charset="0"/>
              <a:buChar char="•"/>
            </a:pP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全球暖化提高了真菌生存環境的平均溫度，到了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21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世紀末，如果碳排放量不減少，世上近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9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成人口將面臨瘧疾與登革熱的風險。</a:t>
            </a:r>
          </a:p>
        </p:txBody>
      </p:sp>
      <p:pic>
        <p:nvPicPr>
          <p:cNvPr id="8" name="圖片 7"/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7909037" y="2903628"/>
            <a:ext cx="3420000" cy="230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矩形 8"/>
          <p:cNvSpPr/>
          <p:nvPr/>
        </p:nvSpPr>
        <p:spPr>
          <a:xfrm>
            <a:off x="1004933" y="4462720"/>
            <a:ext cx="31842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585"/>
            <a:r>
              <a:rPr lang="zh-TW" altLang="en-US" sz="2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高溫致死</a:t>
            </a:r>
          </a:p>
        </p:txBody>
      </p:sp>
      <p:sp>
        <p:nvSpPr>
          <p:cNvPr id="10" name="矩形 9"/>
          <p:cNvSpPr/>
          <p:nvPr/>
        </p:nvSpPr>
        <p:spPr>
          <a:xfrm>
            <a:off x="4582630" y="4420678"/>
            <a:ext cx="31822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585"/>
            <a:r>
              <a:rPr lang="zh-TW" altLang="en-US" sz="2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傳染病肆虐</a:t>
            </a:r>
          </a:p>
        </p:txBody>
      </p:sp>
      <p:sp>
        <p:nvSpPr>
          <p:cNvPr id="11" name="矩形 10"/>
          <p:cNvSpPr/>
          <p:nvPr/>
        </p:nvSpPr>
        <p:spPr>
          <a:xfrm>
            <a:off x="7857048" y="5342176"/>
            <a:ext cx="3496753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 algn="just" defTabSz="60958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空氣污染產生刺激肺部的細懸浮微粒「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PM2.5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」，導致致命危害。</a:t>
            </a:r>
            <a:endParaRPr lang="en-US" altLang="zh-TW" sz="1600" dirty="0">
              <a:solidFill>
                <a:prstClr val="black"/>
              </a:solidFill>
              <a:latin typeface="Arial" panose="020B0604020202020204" pitchFamily="34" charset="0"/>
              <a:ea typeface="微軟正黑體" panose="020B0604030504040204" pitchFamily="34" charset="-120"/>
              <a:cs typeface="Arial" panose="020B0604020202020204" pitchFamily="34" charset="0"/>
            </a:endParaRPr>
          </a:p>
          <a:p>
            <a:pPr marL="285744" indent="-285744" algn="just" defTabSz="609585">
              <a:buFont typeface="Arial" panose="020B0604020202020204" pitchFamily="34" charset="0"/>
              <a:buChar char="•"/>
            </a:pP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《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刺胳針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》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研究報告指出，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PM2.5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每年造成近</a:t>
            </a:r>
            <a:r>
              <a:rPr lang="en-US" altLang="zh-TW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00</a:t>
            </a:r>
            <a:r>
              <a:rPr lang="zh-TW" altLang="en-US" sz="1600" dirty="0">
                <a:solidFill>
                  <a:prstClr val="black"/>
                </a:solidFill>
                <a:latin typeface="Arial" panose="020B0604020202020204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萬人死亡。</a:t>
            </a:r>
          </a:p>
        </p:txBody>
      </p:sp>
      <p:sp>
        <p:nvSpPr>
          <p:cNvPr id="12" name="矩形 11"/>
          <p:cNvSpPr/>
          <p:nvPr/>
        </p:nvSpPr>
        <p:spPr>
          <a:xfrm>
            <a:off x="8016541" y="4462720"/>
            <a:ext cx="32521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585"/>
            <a:r>
              <a:rPr lang="zh-TW" altLang="en-US" sz="2400" b="1" dirty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空氣品質惡化</a:t>
            </a:r>
          </a:p>
        </p:txBody>
      </p:sp>
      <p:sp>
        <p:nvSpPr>
          <p:cNvPr id="13" name="文字方塊 12"/>
          <p:cNvSpPr txBox="1"/>
          <p:nvPr/>
        </p:nvSpPr>
        <p:spPr>
          <a:xfrm>
            <a:off x="5624623" y="6563231"/>
            <a:ext cx="61732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zh-TW" altLang="en-US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來源：</a:t>
            </a:r>
            <a:r>
              <a:rPr lang="en-US" altLang="zh-TW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rId6"/>
              </a:rPr>
              <a:t>https://www.storm.mg/article/4006605?page=2</a:t>
            </a:r>
            <a:r>
              <a:rPr lang="zh-TW" altLang="en-US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；圖片來源：</a:t>
            </a:r>
            <a:r>
              <a:rPr lang="en-US" altLang="zh-TW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rId7"/>
              </a:rPr>
              <a:t>https://unsplash.com/</a:t>
            </a:r>
            <a:r>
              <a:rPr lang="zh-TW" altLang="en-US" sz="10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　</a:t>
            </a:r>
          </a:p>
        </p:txBody>
      </p:sp>
    </p:spTree>
    <p:extLst>
      <p:ext uri="{BB962C8B-B14F-4D97-AF65-F5344CB8AC3E}">
        <p14:creationId xmlns:p14="http://schemas.microsoft.com/office/powerpoint/2010/main" val="378189280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E094F465-DD88-70E1-6FC9-0BAB96AC1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661AE6-32E0-4D9A-8B9E-05894A0EDE4A}" type="slidenum">
              <a:rPr lang="en-US" altLang="zh-TW" smtClean="0"/>
              <a:pPr>
                <a:defRPr/>
              </a:pPr>
              <a:t>60</a:t>
            </a:fld>
            <a:endParaRPr lang="en-US" altLang="zh-TW" dirty="0"/>
          </a:p>
        </p:txBody>
      </p:sp>
      <p:sp>
        <p:nvSpPr>
          <p:cNvPr id="7" name="文字版面配置區 6">
            <a:extLst>
              <a:ext uri="{FF2B5EF4-FFF2-40B4-BE49-F238E27FC236}">
                <a16:creationId xmlns:a16="http://schemas.microsoft.com/office/drawing/2014/main" id="{3A1F7B6A-F0F5-D35E-B930-85DF5DF971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r>
              <a:rPr kumimoji="1" lang="zh-TW" altLang="en-US" sz="44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台灣企業的挑戰</a:t>
            </a:r>
            <a:endParaRPr kumimoji="1" lang="en-US" altLang="zh-TW" sz="44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9696571"/>
      </p:ext>
    </p:extLst>
  </p:cSld>
  <p:clrMapOvr>
    <a:masterClrMapping/>
  </p:clrMapOvr>
  <p:transition spd="slow">
    <p:cover dir="u"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3714" name="Group 19">
            <a:extLst>
              <a:ext uri="{FF2B5EF4-FFF2-40B4-BE49-F238E27FC236}">
                <a16:creationId xmlns:a16="http://schemas.microsoft.com/office/drawing/2014/main" id="{7CE59162-8D40-4059-AFFB-872036DC28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/>
        </p:nvGrpSpPr>
        <p:grpSpPr bwMode="auto">
          <a:xfrm>
            <a:off x="1155701" y="497418"/>
            <a:ext cx="9901767" cy="5863167"/>
            <a:chOff x="1155481" y="498348"/>
            <a:chExt cx="9902663" cy="5861304"/>
          </a:xfrm>
        </p:grpSpPr>
        <p:sp>
          <p:nvSpPr>
            <p:cNvPr id="243717" name="Oval 5">
              <a:extLst>
                <a:ext uri="{FF2B5EF4-FFF2-40B4-BE49-F238E27FC236}">
                  <a16:creationId xmlns:a16="http://schemas.microsoft.com/office/drawing/2014/main" id="{5ACE13CE-8937-40DD-A1D0-57AC43C696F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5481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3718" name="Oval 21">
              <a:extLst>
                <a:ext uri="{FF2B5EF4-FFF2-40B4-BE49-F238E27FC236}">
                  <a16:creationId xmlns:a16="http://schemas.microsoft.com/office/drawing/2014/main" id="{FA6C1442-8B2F-40E5-8068-CD746579C5E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6840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3719" name="Oval 5">
              <a:extLst>
                <a:ext uri="{FF2B5EF4-FFF2-40B4-BE49-F238E27FC236}">
                  <a16:creationId xmlns:a16="http://schemas.microsoft.com/office/drawing/2014/main" id="{DC8D82EB-8A13-4C22-B82E-2F887B568B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348" y="498348"/>
              <a:ext cx="5861304" cy="5861304"/>
            </a:xfrm>
            <a:prstGeom prst="ellipse">
              <a:avLst/>
            </a:prstGeom>
            <a:solidFill>
              <a:schemeClr val="accent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25" name="Rectangle 24" descr="&quot;&quot;">
            <a:extLst>
              <a:ext uri="{FF2B5EF4-FFF2-40B4-BE49-F238E27FC236}">
                <a16:creationId xmlns:a16="http://schemas.microsoft.com/office/drawing/2014/main" id="{A9849BF3-7469-4655-B264-DAC172D077AC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2514600"/>
            <a:ext cx="12192000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570A46A8-4B3E-4208-AB53-FD8407C43A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777067"/>
            <a:ext cx="9144000" cy="1380067"/>
          </a:xfrm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1219140" fontAlgn="auto">
              <a:spcAft>
                <a:spcPts val="0"/>
              </a:spcAft>
              <a:defRPr/>
            </a:pPr>
            <a:r>
              <a:rPr kumimoji="1" lang="zh-TW" altLang="en-US" sz="4000" dirty="0">
                <a:solidFill>
                  <a:schemeClr val="bg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挑戰一：難以接軌國際，形成貿易障礙</a:t>
            </a:r>
          </a:p>
        </p:txBody>
      </p:sp>
    </p:spTree>
    <p:extLst>
      <p:ext uri="{BB962C8B-B14F-4D97-AF65-F5344CB8AC3E}">
        <p14:creationId xmlns:p14="http://schemas.microsoft.com/office/powerpoint/2010/main" val="829020723"/>
      </p:ext>
    </p:extLst>
  </p:cSld>
  <p:clrMapOvr>
    <a:masterClrMapping/>
  </p:clrMapOvr>
  <p:transition spd="slow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61" name="群組 1">
            <a:extLst>
              <a:ext uri="{FF2B5EF4-FFF2-40B4-BE49-F238E27FC236}">
                <a16:creationId xmlns:a16="http://schemas.microsoft.com/office/drawing/2014/main" id="{C41207CA-1D3A-47CC-8C35-BC991C210C38}"/>
              </a:ext>
            </a:extLst>
          </p:cNvPr>
          <p:cNvGrpSpPr>
            <a:grpSpLocks/>
          </p:cNvGrpSpPr>
          <p:nvPr/>
        </p:nvGrpSpPr>
        <p:grpSpPr bwMode="auto">
          <a:xfrm>
            <a:off x="836084" y="1811867"/>
            <a:ext cx="10581216" cy="4199467"/>
            <a:chOff x="190143" y="700144"/>
            <a:chExt cx="11817198" cy="5709133"/>
          </a:xfrm>
        </p:grpSpPr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9AFDF9AD-2F80-47D7-ACBD-62356C9EF3B4}"/>
                </a:ext>
              </a:extLst>
            </p:cNvPr>
            <p:cNvSpPr/>
            <p:nvPr/>
          </p:nvSpPr>
          <p:spPr>
            <a:xfrm>
              <a:off x="190143" y="700144"/>
              <a:ext cx="2976165" cy="1156790"/>
            </a:xfrm>
            <a:prstGeom prst="rect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赤道原則</a:t>
              </a:r>
              <a:endParaRPr lang="en-US" altLang="zh-TW" sz="1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algn="ctr" defTabSz="914377">
                <a:defRPr/>
              </a:pP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quator Principles,</a:t>
              </a: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Ps</a:t>
              </a:r>
              <a:endParaRPr lang="zh-TW" altLang="en-US" sz="1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BA7712A3-CB33-4423-9906-FDD292C7FA4D}"/>
                </a:ext>
              </a:extLst>
            </p:cNvPr>
            <p:cNvSpPr/>
            <p:nvPr/>
          </p:nvSpPr>
          <p:spPr>
            <a:xfrm>
              <a:off x="223238" y="3264075"/>
              <a:ext cx="2935979" cy="356821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03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年</a:t>
              </a: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F876BD8B-6901-4579-8791-CF03FAEDE504}"/>
                </a:ext>
              </a:extLst>
            </p:cNvPr>
            <p:cNvSpPr/>
            <p:nvPr/>
          </p:nvSpPr>
          <p:spPr>
            <a:xfrm>
              <a:off x="223238" y="3620896"/>
              <a:ext cx="2935979" cy="2207108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台灣：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6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</a:t>
              </a:r>
              <a:endParaRPr lang="en-US" altLang="zh-TW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國泰世華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5.03.23</a:t>
              </a: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玉山銀行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5.12.28</a:t>
              </a: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台北富邦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7.12.04</a:t>
              </a: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中國信託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.01.23</a:t>
              </a: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台新銀行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.11.11</a:t>
              </a: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永豐銀行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20.02.27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CB9E1683-2DCD-4D90-A866-31F9316B18E3}"/>
                </a:ext>
              </a:extLst>
            </p:cNvPr>
            <p:cNvSpPr/>
            <p:nvPr/>
          </p:nvSpPr>
          <p:spPr>
            <a:xfrm>
              <a:off x="3159217" y="705899"/>
              <a:ext cx="2935979" cy="1151035"/>
            </a:xfrm>
            <a:prstGeom prst="rect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責任投資原則</a:t>
              </a:r>
            </a:p>
            <a:p>
              <a:pPr algn="ctr" defTabSz="914377">
                <a:defRPr/>
              </a:pP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rinciple Responsible Investment,</a:t>
              </a: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RI</a:t>
              </a:r>
              <a:endParaRPr lang="zh-TW" altLang="en-US" sz="1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C964149-79EF-4886-8ED6-B143D6B8B5E3}"/>
                </a:ext>
              </a:extLst>
            </p:cNvPr>
            <p:cNvSpPr/>
            <p:nvPr/>
          </p:nvSpPr>
          <p:spPr>
            <a:xfrm>
              <a:off x="3159217" y="3264075"/>
              <a:ext cx="2935979" cy="356821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06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年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4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月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52E72767-7540-4A83-BC2D-57150F458F42}"/>
                </a:ext>
              </a:extLst>
            </p:cNvPr>
            <p:cNvSpPr/>
            <p:nvPr/>
          </p:nvSpPr>
          <p:spPr>
            <a:xfrm>
              <a:off x="3159217" y="3620896"/>
              <a:ext cx="2935979" cy="2207108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無台灣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8FEAC22C-AEC5-4234-A74B-B4EE450DC543}"/>
                </a:ext>
              </a:extLst>
            </p:cNvPr>
            <p:cNvSpPr/>
            <p:nvPr/>
          </p:nvSpPr>
          <p:spPr>
            <a:xfrm>
              <a:off x="6095197" y="705899"/>
              <a:ext cx="2935979" cy="1151035"/>
            </a:xfrm>
            <a:prstGeom prst="rect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永續保險原則</a:t>
              </a:r>
            </a:p>
            <a:p>
              <a:pPr algn="ctr" defTabSz="914377">
                <a:defRPr/>
              </a:pP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rinciples for Sustainable Insurance,</a:t>
              </a: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SI</a:t>
              </a:r>
              <a:endParaRPr lang="zh-TW" altLang="en-US" sz="1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5CC29E3-13BD-4189-9F90-3C6BAEC76F3B}"/>
                </a:ext>
              </a:extLst>
            </p:cNvPr>
            <p:cNvSpPr/>
            <p:nvPr/>
          </p:nvSpPr>
          <p:spPr>
            <a:xfrm>
              <a:off x="6095197" y="3264075"/>
              <a:ext cx="2935979" cy="356821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2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年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2746DF08-8D04-4879-9956-8198C8E53C6B}"/>
                </a:ext>
              </a:extLst>
            </p:cNvPr>
            <p:cNvSpPr/>
            <p:nvPr/>
          </p:nvSpPr>
          <p:spPr>
            <a:xfrm>
              <a:off x="6095197" y="3620896"/>
              <a:ext cx="2935979" cy="2207108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defTabSz="685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1pPr>
              <a:lvl2pPr marL="742950" indent="-28575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2pPr>
              <a:lvl3pPr marL="11430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3pPr>
              <a:lvl4pPr marL="16002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4pPr>
              <a:lvl5pPr marL="2057400" indent="-228600" defTabSz="6858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5pPr>
              <a:lvl6pPr marL="25146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6pPr>
              <a:lvl7pPr marL="29718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7pPr>
              <a:lvl8pPr marL="34290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8pPr>
              <a:lvl9pPr marL="3886200" indent="-228600" defTabSz="685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微軟正黑體" panose="020B0604030504040204" pitchFamily="34" charset="-120"/>
                </a:defRPr>
              </a:lvl9pPr>
            </a:lstStyle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TW" altLang="en-US" sz="1333" b="1">
                  <a:solidFill>
                    <a:srgbClr val="002060"/>
                  </a:solidFill>
                  <a:latin typeface="微軟正黑體" panose="020B0604030504040204" pitchFamily="34" charset="-120"/>
                </a:rPr>
                <a:t>無台灣</a:t>
              </a:r>
              <a:endParaRPr lang="en-US" altLang="zh-TW" sz="1333" b="1">
                <a:solidFill>
                  <a:srgbClr val="002060"/>
                </a:solidFill>
                <a:latin typeface="微軟正黑體" panose="020B0604030504040204" pitchFamily="34" charset="-120"/>
              </a:endParaRPr>
            </a:p>
            <a:p>
              <a:pPr algn="ctr" defTabSz="914377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TW" altLang="en-US" sz="1333" b="1">
                  <a:solidFill>
                    <a:srgbClr val="002060"/>
                  </a:solidFill>
                  <a:latin typeface="微軟正黑體" panose="020B0604030504040204" pitchFamily="34" charset="-120"/>
                </a:rPr>
                <a:t>國泰人壽及國泰世紀產險、富邦產險等自行遵循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F2484C34-C4C6-47D1-BC96-36007D657014}"/>
                </a:ext>
              </a:extLst>
            </p:cNvPr>
            <p:cNvSpPr/>
            <p:nvPr/>
          </p:nvSpPr>
          <p:spPr>
            <a:xfrm>
              <a:off x="3159217" y="5828004"/>
              <a:ext cx="2935979" cy="5812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至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20.05.28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止，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3,109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個單位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53ACCFA2-DDC7-4FDB-BA00-898E99F08C30}"/>
                </a:ext>
              </a:extLst>
            </p:cNvPr>
            <p:cNvSpPr/>
            <p:nvPr/>
          </p:nvSpPr>
          <p:spPr>
            <a:xfrm>
              <a:off x="223238" y="5828004"/>
              <a:ext cx="2921796" cy="5812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至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20.07.01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止，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38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國、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06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金融機構</a:t>
              </a: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A52B2397-20C7-4B83-80FD-021D1B93BE36}"/>
                </a:ext>
              </a:extLst>
            </p:cNvPr>
            <p:cNvSpPr/>
            <p:nvPr/>
          </p:nvSpPr>
          <p:spPr>
            <a:xfrm>
              <a:off x="6081013" y="5822249"/>
              <a:ext cx="2964346" cy="587028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至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20.07.03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止，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78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個單位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5120DD6E-0A3D-48DF-A0AD-1EC06BEBB03B}"/>
                </a:ext>
              </a:extLst>
            </p:cNvPr>
            <p:cNvSpPr/>
            <p:nvPr/>
          </p:nvSpPr>
          <p:spPr>
            <a:xfrm>
              <a:off x="9031176" y="705899"/>
              <a:ext cx="2976165" cy="1151035"/>
            </a:xfrm>
            <a:prstGeom prst="rect">
              <a:avLst/>
            </a:prstGeom>
            <a:solidFill>
              <a:srgbClr val="002060"/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責任銀行原則</a:t>
              </a:r>
            </a:p>
            <a:p>
              <a:pPr algn="ctr" defTabSz="914377">
                <a:defRPr/>
              </a:pP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rinciples for Responsible Banking,</a:t>
              </a:r>
              <a:r>
                <a:rPr lang="zh-TW" altLang="en-US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1400" b="1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PRB</a:t>
              </a:r>
              <a:endParaRPr lang="zh-TW" altLang="en-US" sz="1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6EF8BB1D-5A0C-47EC-84C9-24765E8C8286}"/>
                </a:ext>
              </a:extLst>
            </p:cNvPr>
            <p:cNvSpPr/>
            <p:nvPr/>
          </p:nvSpPr>
          <p:spPr>
            <a:xfrm>
              <a:off x="9031176" y="3264075"/>
              <a:ext cx="2938343" cy="356821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年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9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月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C5BDB1D4-924C-4CFA-952B-159F6F646EB1}"/>
                </a:ext>
              </a:extLst>
            </p:cNvPr>
            <p:cNvSpPr/>
            <p:nvPr/>
          </p:nvSpPr>
          <p:spPr>
            <a:xfrm>
              <a:off x="9031176" y="3620896"/>
              <a:ext cx="2938343" cy="2207108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無台灣</a:t>
              </a:r>
              <a:endParaRPr lang="en-US" altLang="zh-TW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國泰世華 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8.12.14 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宣布擬自願遵循</a:t>
              </a: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CFF0B2A7-79A4-4EE9-879D-2078BD71A233}"/>
                </a:ext>
              </a:extLst>
            </p:cNvPr>
            <p:cNvSpPr/>
            <p:nvPr/>
          </p:nvSpPr>
          <p:spPr>
            <a:xfrm>
              <a:off x="9031176" y="5816494"/>
              <a:ext cx="2928887" cy="59278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至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019.09.22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止，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49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國、</a:t>
              </a:r>
              <a:r>
                <a:rPr lang="en-US" altLang="zh-TW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132</a:t>
              </a:r>
              <a:r>
                <a:rPr lang="zh-TW" altLang="en-US" sz="1400" b="1" dirty="0">
                  <a:solidFill>
                    <a:srgbClr val="00206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家銀行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76B49BEF-4A59-4491-B7AE-024D9E84BFDC}"/>
                </a:ext>
              </a:extLst>
            </p:cNvPr>
            <p:cNvSpPr/>
            <p:nvPr/>
          </p:nvSpPr>
          <p:spPr>
            <a:xfrm>
              <a:off x="223238" y="1856934"/>
              <a:ext cx="2935979" cy="14157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endParaRPr lang="zh-TW" altLang="en-US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245781" name="圖片 23">
              <a:extLst>
                <a:ext uri="{FF2B5EF4-FFF2-40B4-BE49-F238E27FC236}">
                  <a16:creationId xmlns:a16="http://schemas.microsoft.com/office/drawing/2014/main" id="{A9773248-45FF-4368-BF9F-36439DDEA0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07" y="2084242"/>
              <a:ext cx="2438400" cy="952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D0E52FAA-3FF0-4C23-93C9-AA1E2CF2DE8B}"/>
                </a:ext>
              </a:extLst>
            </p:cNvPr>
            <p:cNvSpPr/>
            <p:nvPr/>
          </p:nvSpPr>
          <p:spPr>
            <a:xfrm>
              <a:off x="3159217" y="1856934"/>
              <a:ext cx="2935979" cy="14157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endParaRPr lang="zh-TW" altLang="en-US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245783" name="圖片 25" descr="一張含有 畫畫 的圖片&#10;&#10;自動產生的描述">
              <a:extLst>
                <a:ext uri="{FF2B5EF4-FFF2-40B4-BE49-F238E27FC236}">
                  <a16:creationId xmlns:a16="http://schemas.microsoft.com/office/drawing/2014/main" id="{559B14BC-ABC5-41AB-8805-F006E1BC82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5935" y="2355151"/>
              <a:ext cx="2462213" cy="461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3B3B0369-3C09-4123-AD11-B60F74D35233}"/>
                </a:ext>
              </a:extLst>
            </p:cNvPr>
            <p:cNvSpPr/>
            <p:nvPr/>
          </p:nvSpPr>
          <p:spPr>
            <a:xfrm>
              <a:off x="6095197" y="1856934"/>
              <a:ext cx="2935979" cy="14157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endParaRPr lang="zh-TW" altLang="en-US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0A304186-3960-4E92-B5D8-B15D68CAA9E5}"/>
                </a:ext>
              </a:extLst>
            </p:cNvPr>
            <p:cNvSpPr/>
            <p:nvPr/>
          </p:nvSpPr>
          <p:spPr>
            <a:xfrm>
              <a:off x="9031176" y="1856934"/>
              <a:ext cx="2938343" cy="1415773"/>
            </a:xfrm>
            <a:prstGeom prst="rect">
              <a:avLst/>
            </a:prstGeom>
            <a:noFill/>
            <a:ln w="2857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377">
                <a:defRPr/>
              </a:pPr>
              <a:endParaRPr lang="zh-TW" altLang="en-US" sz="14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245786" name="圖片 29" descr="一張含有 刀 的圖片&#10;&#10;自動產生的描述">
              <a:extLst>
                <a:ext uri="{FF2B5EF4-FFF2-40B4-BE49-F238E27FC236}">
                  <a16:creationId xmlns:a16="http://schemas.microsoft.com/office/drawing/2014/main" id="{FF0EB9F7-6CFE-47F9-B4FF-E5399D8F24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4807" y="2146875"/>
              <a:ext cx="2718627" cy="7530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787" name="圖片 30">
              <a:extLst>
                <a:ext uri="{FF2B5EF4-FFF2-40B4-BE49-F238E27FC236}">
                  <a16:creationId xmlns:a16="http://schemas.microsoft.com/office/drawing/2014/main" id="{0285D365-0999-4525-8AD9-4AC4FE31DF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7" t="15308" r="5074" b="15253"/>
            <a:stretch>
              <a:fillRect/>
            </a:stretch>
          </p:blipFill>
          <p:spPr bwMode="auto">
            <a:xfrm>
              <a:off x="9457463" y="1958595"/>
              <a:ext cx="2085795" cy="1203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5762" name="文字方塊 26">
            <a:extLst>
              <a:ext uri="{FF2B5EF4-FFF2-40B4-BE49-F238E27FC236}">
                <a16:creationId xmlns:a16="http://schemas.microsoft.com/office/drawing/2014/main" id="{E69BF12F-D557-4305-A535-EAE1CCBF63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951" y="6127751"/>
            <a:ext cx="1164801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資料來源：</a:t>
            </a:r>
            <a:endParaRPr lang="en-US" altLang="zh-TW" sz="1200" b="1">
              <a:solidFill>
                <a:srgbClr val="7F7F7F"/>
              </a:solidFill>
              <a:latin typeface="Calibri Light" panose="020F0302020204030204" pitchFamily="34" charset="0"/>
            </a:endParaRP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https://equator-principles.com/members-reporting/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；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https://www.unpri.org/signatories/signatory-directory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；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https://www.unepfi.org/psi/signatory-companies/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；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  <a:hlinkClick r:id="rId6"/>
              </a:rPr>
              <a:t>https://www.unepfi.org/banking/bankingprinciples/signatories/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；</a:t>
            </a:r>
            <a:endParaRPr lang="en-US" altLang="zh-TW" sz="1200" b="1">
              <a:solidFill>
                <a:srgbClr val="7F7F7F"/>
              </a:solidFill>
              <a:latin typeface="Calibri Light" panose="020F0302020204030204" pitchFamily="34" charset="0"/>
            </a:endParaRPr>
          </a:p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說明：統計至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</a:rPr>
              <a:t>2020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年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</a:rPr>
              <a:t>7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月</a:t>
            </a:r>
            <a:r>
              <a:rPr lang="en-US" altLang="zh-TW" sz="1200" b="1">
                <a:solidFill>
                  <a:srgbClr val="7F7F7F"/>
                </a:solidFill>
                <a:latin typeface="Calibri Light" panose="020F0302020204030204" pitchFamily="34" charset="0"/>
              </a:rPr>
              <a:t>1</a:t>
            </a:r>
            <a:r>
              <a:rPr lang="zh-TW" altLang="en-US" sz="1200" b="1">
                <a:solidFill>
                  <a:srgbClr val="7F7F7F"/>
                </a:solidFill>
                <a:latin typeface="Calibri Light" panose="020F0302020204030204" pitchFamily="34" charset="0"/>
              </a:rPr>
              <a:t>日</a:t>
            </a:r>
          </a:p>
        </p:txBody>
      </p:sp>
      <p:sp>
        <p:nvSpPr>
          <p:cNvPr id="32" name="標題 1">
            <a:extLst>
              <a:ext uri="{FF2B5EF4-FFF2-40B4-BE49-F238E27FC236}">
                <a16:creationId xmlns:a16="http://schemas.microsoft.com/office/drawing/2014/main" id="{171171DD-0A2A-40A0-B763-367B2CA93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1733" y="537634"/>
            <a:ext cx="9702800" cy="1401233"/>
          </a:xfrm>
        </p:spPr>
        <p:txBody>
          <a:bodyPr/>
          <a:lstStyle/>
          <a:p>
            <a:r>
              <a:rPr lang="zh-TW" altLang="en-US">
                <a:solidFill>
                  <a:srgbClr val="548235"/>
                </a:solidFill>
                <a:latin typeface="微軟正黑體" panose="020B0604030504040204" pitchFamily="34" charset="-120"/>
                <a:ea typeface="BiauKai" pitchFamily="2" charset="-120"/>
              </a:rPr>
              <a:t>台灣不僅不是國際環保協議的會員國，且國內綠色金融</a:t>
            </a:r>
            <a:r>
              <a:rPr lang="zh-CN" altLang="en-US">
                <a:solidFill>
                  <a:srgbClr val="548235"/>
                </a:solidFill>
                <a:latin typeface="微軟正黑體" panose="020B0604030504040204" pitchFamily="34" charset="-120"/>
                <a:ea typeface="BiauKai" pitchFamily="2" charset="-120"/>
              </a:rPr>
              <a:t>離世界太遙遠</a:t>
            </a:r>
            <a:r>
              <a:rPr lang="en-US" altLang="zh-TW">
                <a:solidFill>
                  <a:srgbClr val="548235"/>
                </a:solidFill>
                <a:latin typeface="微軟正黑體" panose="020B0604030504040204" pitchFamily="34" charset="-120"/>
                <a:ea typeface="BiauKai" pitchFamily="2" charset="-120"/>
              </a:rPr>
              <a:t>………</a:t>
            </a:r>
            <a:endParaRPr lang="zh-TW" altLang="en-US">
              <a:solidFill>
                <a:srgbClr val="548235"/>
              </a:solidFill>
              <a:latin typeface="微軟正黑體" panose="020B0604030504040204" pitchFamily="34" charset="-120"/>
              <a:ea typeface="BiauKai" pitchFamily="2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55384318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810" name="Group 19">
            <a:extLst>
              <a:ext uri="{FF2B5EF4-FFF2-40B4-BE49-F238E27FC236}">
                <a16:creationId xmlns:a16="http://schemas.microsoft.com/office/drawing/2014/main" id="{E979DC20-2465-43B5-A191-A6E3CB60B3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/>
        </p:nvGrpSpPr>
        <p:grpSpPr bwMode="auto">
          <a:xfrm>
            <a:off x="1155701" y="497418"/>
            <a:ext cx="9901767" cy="5863167"/>
            <a:chOff x="1155481" y="498348"/>
            <a:chExt cx="9902663" cy="5861304"/>
          </a:xfrm>
        </p:grpSpPr>
        <p:sp>
          <p:nvSpPr>
            <p:cNvPr id="247813" name="Oval 5">
              <a:extLst>
                <a:ext uri="{FF2B5EF4-FFF2-40B4-BE49-F238E27FC236}">
                  <a16:creationId xmlns:a16="http://schemas.microsoft.com/office/drawing/2014/main" id="{38136784-3B68-47DF-8DB5-56CF08309CB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5481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7814" name="Oval 21">
              <a:extLst>
                <a:ext uri="{FF2B5EF4-FFF2-40B4-BE49-F238E27FC236}">
                  <a16:creationId xmlns:a16="http://schemas.microsoft.com/office/drawing/2014/main" id="{A7BB92AA-2F18-400B-AC05-0E6C7B6001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6840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47815" name="Oval 5">
              <a:extLst>
                <a:ext uri="{FF2B5EF4-FFF2-40B4-BE49-F238E27FC236}">
                  <a16:creationId xmlns:a16="http://schemas.microsoft.com/office/drawing/2014/main" id="{A2F7D1EC-93D4-4A1B-82C7-A557401A69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348" y="498348"/>
              <a:ext cx="5861304" cy="5861304"/>
            </a:xfrm>
            <a:prstGeom prst="ellipse">
              <a:avLst/>
            </a:prstGeom>
            <a:solidFill>
              <a:schemeClr val="accent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25" name="Rectangle 24" descr="&quot;&quot;">
            <a:extLst>
              <a:ext uri="{FF2B5EF4-FFF2-40B4-BE49-F238E27FC236}">
                <a16:creationId xmlns:a16="http://schemas.microsoft.com/office/drawing/2014/main" id="{CD153659-EDC6-461A-AAE0-EC2A28F24C3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2514600"/>
            <a:ext cx="12192000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3387E7CF-7B2D-4852-AF98-C0B1939D87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777067"/>
            <a:ext cx="9144000" cy="1380067"/>
          </a:xfrm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1219140" fontAlgn="auto">
              <a:spcAft>
                <a:spcPts val="0"/>
              </a:spcAft>
              <a:defRPr/>
            </a:pPr>
            <a:r>
              <a:rPr kumimoji="1" lang="zh-TW" altLang="en-US" sz="4000" dirty="0">
                <a:solidFill>
                  <a:schemeClr val="bg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挑戰二：欠缺科學量測，難有目標策略</a:t>
            </a:r>
          </a:p>
        </p:txBody>
      </p:sp>
    </p:spTree>
    <p:extLst>
      <p:ext uri="{BB962C8B-B14F-4D97-AF65-F5344CB8AC3E}">
        <p14:creationId xmlns:p14="http://schemas.microsoft.com/office/powerpoint/2010/main" val="2820969398"/>
      </p:ext>
    </p:extLst>
  </p:cSld>
  <p:clrMapOvr>
    <a:masterClrMapping/>
  </p:clrMapOvr>
  <p:transition spd="slow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>
            <a:extLst>
              <a:ext uri="{FF2B5EF4-FFF2-40B4-BE49-F238E27FC236}">
                <a16:creationId xmlns:a16="http://schemas.microsoft.com/office/drawing/2014/main" id="{2F5E0271-C95D-44BB-9F23-913DD9EFA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733" y="0"/>
            <a:ext cx="6282267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AE79131A-0345-4265-9B7D-D6146054C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533" y="2269067"/>
            <a:ext cx="5215467" cy="2319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圖片 10">
            <a:extLst>
              <a:ext uri="{FF2B5EF4-FFF2-40B4-BE49-F238E27FC236}">
                <a16:creationId xmlns:a16="http://schemas.microsoft.com/office/drawing/2014/main" id="{A6C30CFE-B15C-4816-82AA-197B039A8C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3333" y="4572000"/>
            <a:ext cx="4148667" cy="2302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9860" name="標題 2">
            <a:extLst>
              <a:ext uri="{FF2B5EF4-FFF2-40B4-BE49-F238E27FC236}">
                <a16:creationId xmlns:a16="http://schemas.microsoft.com/office/drawing/2014/main" id="{27E0788D-ACF0-4F8F-96E5-67274A73ABD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95300" y="402168"/>
            <a:ext cx="5192184" cy="1325033"/>
          </a:xfrm>
        </p:spPr>
        <p:txBody>
          <a:bodyPr/>
          <a:lstStyle/>
          <a:p>
            <a:r>
              <a:rPr lang="zh-TW" altLang="en-US" b="1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看不見的環境成本</a:t>
            </a:r>
            <a:endParaRPr kumimoji="1" lang="zh-TW" altLang="en-US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C0412145-DF85-47D4-864A-67455B6920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118" y="1746251"/>
            <a:ext cx="6131983" cy="5001683"/>
          </a:xfrm>
        </p:spPr>
        <p:txBody>
          <a:bodyPr>
            <a:normAutofit/>
          </a:bodyPr>
          <a:lstStyle/>
          <a:p>
            <a:pPr marL="340775" lvl="1" indent="-340775">
              <a:lnSpc>
                <a:spcPct val="100000"/>
              </a:lnSpc>
              <a:spcBef>
                <a:spcPts val="1200"/>
              </a:spcBef>
              <a:buClr>
                <a:srgbClr val="7C7C7C"/>
              </a:buClr>
              <a:buSzPct val="85000"/>
              <a:buFont typeface="Wingdings" panose="05000000000000000000" pitchFamily="2" charset="2"/>
              <a:buChar char=""/>
              <a:tabLst>
                <a:tab pos="351358" algn="l"/>
              </a:tabLst>
            </a:pP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由中國智庫「清潔空氣創新中心」和英國諮詢機構「</a:t>
            </a:r>
            <a:r>
              <a:rPr lang="en-US" altLang="zh-TW" sz="1733" b="1" dirty="0" err="1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TruCost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」合作的這份報告，是中國第一份將企業外部成本貨幣化的報告。</a:t>
            </a:r>
            <a:endParaRPr lang="en-US" altLang="zh-TW" sz="1733" b="1" dirty="0">
              <a:solidFill>
                <a:srgbClr val="002060"/>
              </a:solidFill>
              <a:latin typeface="Times New Roman" panose="02020603050405020304" pitchFamily="18" charset="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340775" lvl="1" indent="-340775">
              <a:lnSpc>
                <a:spcPct val="100000"/>
              </a:lnSpc>
              <a:spcBef>
                <a:spcPts val="1200"/>
              </a:spcBef>
              <a:buClr>
                <a:srgbClr val="7C7C7C"/>
              </a:buClr>
              <a:buSzPct val="85000"/>
              <a:buFont typeface="Wingdings" panose="05000000000000000000" pitchFamily="2" charset="2"/>
              <a:buChar char=""/>
              <a:tabLst>
                <a:tab pos="351358" algn="l"/>
              </a:tabLst>
            </a:pP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中國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32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家上市水泥企業在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2013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年產生了近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2000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億元大氣污染外部成本，占公司總收益的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43%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。 這一環境成本在商業決策中被嚴重低估。外部成本是企業排放污染物造成的環境和社會損失，通常企業並不承擔，也很難量化。</a:t>
            </a:r>
          </a:p>
          <a:p>
            <a:pPr marL="340775" lvl="1" indent="-340775">
              <a:lnSpc>
                <a:spcPct val="100000"/>
              </a:lnSpc>
              <a:spcBef>
                <a:spcPts val="1200"/>
              </a:spcBef>
              <a:buClr>
                <a:srgbClr val="7C7C7C"/>
              </a:buClr>
              <a:buSzPct val="85000"/>
              <a:buFont typeface="Wingdings" panose="05000000000000000000" pitchFamily="2" charset="2"/>
              <a:buChar char=""/>
              <a:tabLst>
                <a:tab pos="351358" algn="l"/>
              </a:tabLst>
            </a:pP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正是由於近年來越發嚴重的大氣污染，中國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2010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年因為室外空氣污染過早死亡人數達</a:t>
            </a:r>
            <a:r>
              <a:rPr lang="en-US" altLang="zh-TW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35-50</a:t>
            </a: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萬。 不過，這些代價並沒有計算到企業的頭上去。 </a:t>
            </a:r>
          </a:p>
          <a:p>
            <a:pPr marL="340775" lvl="1" indent="-340775">
              <a:lnSpc>
                <a:spcPct val="100000"/>
              </a:lnSpc>
              <a:spcBef>
                <a:spcPts val="1200"/>
              </a:spcBef>
              <a:buClr>
                <a:srgbClr val="7C7C7C"/>
              </a:buClr>
              <a:buSzPct val="85000"/>
              <a:buFont typeface="Wingdings" panose="05000000000000000000" pitchFamily="2" charset="2"/>
              <a:buChar char=""/>
              <a:tabLst>
                <a:tab pos="351358" algn="l"/>
              </a:tabLst>
            </a:pPr>
            <a:r>
              <a:rPr lang="zh-TW" altLang="en-US" sz="1733" b="1" dirty="0">
                <a:solidFill>
                  <a:srgbClr val="002060"/>
                </a:solidFill>
                <a:latin typeface="Times New Roman" panose="02020603050405020304" pitchFamily="18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企業消極應對環境成本考量，在資本市場上可能會很被動。 中國工商銀行信貸與投資管理部處長胡桂斌負責水泥行業的貸款，他說：「看了報告內容後，我也在擔心，如果把這些外部成本全部讓企業承擔，水泥產業能否生存下去，銀行對水泥的投資還能不能投。</a:t>
            </a:r>
          </a:p>
          <a:p>
            <a:pPr>
              <a:lnSpc>
                <a:spcPct val="100000"/>
              </a:lnSpc>
              <a:tabLst>
                <a:tab pos="351358" algn="l"/>
              </a:tabLst>
            </a:pPr>
            <a:endParaRPr kumimoji="1" lang="zh-TW" altLang="en-US" sz="1733" dirty="0">
              <a:solidFill>
                <a:srgbClr val="00206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249862" name="投影片編號預留位置 1">
            <a:extLst>
              <a:ext uri="{FF2B5EF4-FFF2-40B4-BE49-F238E27FC236}">
                <a16:creationId xmlns:a16="http://schemas.microsoft.com/office/drawing/2014/main" id="{7D7C3565-6269-44FA-AD66-13381DB6731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9245600" y="6356351"/>
            <a:ext cx="2108200" cy="36618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14377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990575" indent="-380990" defTabSz="914377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523962" indent="-304792" defTabSz="914377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2133547" indent="-304792" defTabSz="914377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743131" indent="-304792" defTabSz="914377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3352716" indent="-304792" defTabSz="91437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3962301" indent="-304792" defTabSz="91437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4571886" indent="-304792" defTabSz="91437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5181470" indent="-304792" defTabSz="91437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fontAlgn="base">
              <a:spcBef>
                <a:spcPct val="0"/>
              </a:spcBef>
              <a:spcAft>
                <a:spcPts val="600"/>
              </a:spcAft>
            </a:pPr>
            <a:fld id="{06470BCE-41D1-4871-8693-48CE170B3ECB}" type="slidenum">
              <a:rPr kumimoji="0" lang="zh-TW" altLang="en-US">
                <a:solidFill>
                  <a:srgbClr val="FFFFFF"/>
                </a:solidFill>
                <a:latin typeface="Calibri" panose="020F0502020204030204" pitchFamily="34" charset="0"/>
                <a:ea typeface="新細明體" panose="02020500000000000000" pitchFamily="18" charset="-120"/>
              </a:rPr>
              <a:pPr fontAlgn="base">
                <a:spcBef>
                  <a:spcPct val="0"/>
                </a:spcBef>
                <a:spcAft>
                  <a:spcPts val="600"/>
                </a:spcAft>
              </a:pPr>
              <a:t>64</a:t>
            </a:fld>
            <a:endParaRPr kumimoji="0" lang="zh-TW" altLang="en-US">
              <a:solidFill>
                <a:srgbClr val="FFFFFF"/>
              </a:solidFill>
              <a:latin typeface="Calibri" panose="020F0502020204030204" pitchFamily="34" charset="0"/>
              <a:ea typeface="新細明體" panose="02020500000000000000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4994820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9314" name="Group 19">
            <a:extLst>
              <a:ext uri="{FF2B5EF4-FFF2-40B4-BE49-F238E27FC236}">
                <a16:creationId xmlns:a16="http://schemas.microsoft.com/office/drawing/2014/main" id="{FBB99F4F-072D-48CE-AC3B-4C4E89414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/>
        </p:nvGrpSpPr>
        <p:grpSpPr bwMode="auto">
          <a:xfrm>
            <a:off x="1155701" y="497418"/>
            <a:ext cx="9901767" cy="5863167"/>
            <a:chOff x="1155481" y="498348"/>
            <a:chExt cx="9902663" cy="5861304"/>
          </a:xfrm>
        </p:grpSpPr>
        <p:sp>
          <p:nvSpPr>
            <p:cNvPr id="269317" name="Oval 5">
              <a:extLst>
                <a:ext uri="{FF2B5EF4-FFF2-40B4-BE49-F238E27FC236}">
                  <a16:creationId xmlns:a16="http://schemas.microsoft.com/office/drawing/2014/main" id="{9B256B5D-E03E-4DFD-A411-A715CCD1734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5481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9318" name="Oval 21">
              <a:extLst>
                <a:ext uri="{FF2B5EF4-FFF2-40B4-BE49-F238E27FC236}">
                  <a16:creationId xmlns:a16="http://schemas.microsoft.com/office/drawing/2014/main" id="{D25E2ABC-00FE-426F-B443-00024FF86D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6840" y="498348"/>
              <a:ext cx="5861304" cy="5861304"/>
            </a:xfrm>
            <a:prstGeom prst="ellipse">
              <a:avLst/>
            </a:prstGeom>
            <a:solidFill>
              <a:schemeClr val="accent1">
                <a:alpha val="54901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  <p:sp>
          <p:nvSpPr>
            <p:cNvPr id="269319" name="Oval 5">
              <a:extLst>
                <a:ext uri="{FF2B5EF4-FFF2-40B4-BE49-F238E27FC236}">
                  <a16:creationId xmlns:a16="http://schemas.microsoft.com/office/drawing/2014/main" id="{95AAC559-E64A-4ED4-9974-D4FEC2C67A9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348" y="498348"/>
              <a:ext cx="5861304" cy="5861304"/>
            </a:xfrm>
            <a:prstGeom prst="ellipse">
              <a:avLst/>
            </a:prstGeom>
            <a:solidFill>
              <a:schemeClr val="accent1">
                <a:alpha val="70195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zh-TW" altLang="en-US" sz="2400">
                <a:solidFill>
                  <a:prstClr val="white"/>
                </a:solidFill>
                <a:latin typeface="Arial" panose="020B0604020202020204" pitchFamily="34" charset="0"/>
                <a:ea typeface="微軟正黑體" panose="020B0604030504040204" pitchFamily="34" charset="-120"/>
              </a:endParaRPr>
            </a:p>
          </p:txBody>
        </p:sp>
      </p:grpSp>
      <p:sp>
        <p:nvSpPr>
          <p:cNvPr id="25" name="Rectangle 24" descr="&quot;&quot;">
            <a:extLst>
              <a:ext uri="{FF2B5EF4-FFF2-40B4-BE49-F238E27FC236}">
                <a16:creationId xmlns:a16="http://schemas.microsoft.com/office/drawing/2014/main" id="{097DE815-A9B6-4113-BA5E-197A3B9E5CC9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2514600"/>
            <a:ext cx="12192000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標題 2">
            <a:extLst>
              <a:ext uri="{FF2B5EF4-FFF2-40B4-BE49-F238E27FC236}">
                <a16:creationId xmlns:a16="http://schemas.microsoft.com/office/drawing/2014/main" id="{C4F6F0C2-1D3E-4BFE-86D7-D2CF5E290A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777067"/>
            <a:ext cx="9144000" cy="1380067"/>
          </a:xfrm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rmAutofit/>
          </a:bodyPr>
          <a:lstStyle/>
          <a:p>
            <a:pPr defTabSz="1219140" fontAlgn="auto">
              <a:spcAft>
                <a:spcPts val="0"/>
              </a:spcAft>
              <a:defRPr/>
            </a:pPr>
            <a:r>
              <a:rPr kumimoji="1" lang="zh-TW" altLang="en-US" sz="4000" dirty="0">
                <a:solidFill>
                  <a:schemeClr val="bg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挑戰三：</a:t>
            </a:r>
            <a:r>
              <a:rPr kumimoji="1" lang="zh-CN" altLang="en-US" sz="4000" dirty="0">
                <a:solidFill>
                  <a:schemeClr val="bg2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環境市場不彰，需要法制力量</a:t>
            </a:r>
            <a:endParaRPr kumimoji="1" lang="zh-TW" altLang="en-US" sz="4000" dirty="0">
              <a:solidFill>
                <a:schemeClr val="bg2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02762631"/>
      </p:ext>
    </p:extLst>
  </p:cSld>
  <p:clrMapOvr>
    <a:masterClrMapping/>
  </p:clrMapOvr>
  <p:transition spd="slow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D55D2E13-4DE9-472A-8888-A2CE90B4E059}"/>
              </a:ext>
            </a:extLst>
          </p:cNvPr>
          <p:cNvGraphicFramePr>
            <a:graphicFrameLocks noGrp="1"/>
          </p:cNvGraphicFramePr>
          <p:nvPr/>
        </p:nvGraphicFramePr>
        <p:xfrm>
          <a:off x="1450561" y="1193790"/>
          <a:ext cx="8568268" cy="5482176"/>
        </p:xfrm>
        <a:graphic>
          <a:graphicData uri="http://schemas.openxmlformats.org/drawingml/2006/table">
            <a:tbl>
              <a:tblPr/>
              <a:tblGrid>
                <a:gridCol w="1430867">
                  <a:extLst>
                    <a:ext uri="{9D8B030D-6E8A-4147-A177-3AD203B41FA5}">
                      <a16:colId xmlns:a16="http://schemas.microsoft.com/office/drawing/2014/main" val="553835495"/>
                    </a:ext>
                  </a:extLst>
                </a:gridCol>
                <a:gridCol w="1430867">
                  <a:extLst>
                    <a:ext uri="{9D8B030D-6E8A-4147-A177-3AD203B41FA5}">
                      <a16:colId xmlns:a16="http://schemas.microsoft.com/office/drawing/2014/main" val="11485951"/>
                    </a:ext>
                  </a:extLst>
                </a:gridCol>
                <a:gridCol w="950384">
                  <a:extLst>
                    <a:ext uri="{9D8B030D-6E8A-4147-A177-3AD203B41FA5}">
                      <a16:colId xmlns:a16="http://schemas.microsoft.com/office/drawing/2014/main" val="224370735"/>
                    </a:ext>
                  </a:extLst>
                </a:gridCol>
                <a:gridCol w="952500">
                  <a:extLst>
                    <a:ext uri="{9D8B030D-6E8A-4147-A177-3AD203B41FA5}">
                      <a16:colId xmlns:a16="http://schemas.microsoft.com/office/drawing/2014/main" val="371360515"/>
                    </a:ext>
                  </a:extLst>
                </a:gridCol>
                <a:gridCol w="950383">
                  <a:extLst>
                    <a:ext uri="{9D8B030D-6E8A-4147-A177-3AD203B41FA5}">
                      <a16:colId xmlns:a16="http://schemas.microsoft.com/office/drawing/2014/main" val="505462853"/>
                    </a:ext>
                  </a:extLst>
                </a:gridCol>
                <a:gridCol w="952500">
                  <a:extLst>
                    <a:ext uri="{9D8B030D-6E8A-4147-A177-3AD203B41FA5}">
                      <a16:colId xmlns:a16="http://schemas.microsoft.com/office/drawing/2014/main" val="192258810"/>
                    </a:ext>
                  </a:extLst>
                </a:gridCol>
                <a:gridCol w="950384">
                  <a:extLst>
                    <a:ext uri="{9D8B030D-6E8A-4147-A177-3AD203B41FA5}">
                      <a16:colId xmlns:a16="http://schemas.microsoft.com/office/drawing/2014/main" val="1911897775"/>
                    </a:ext>
                  </a:extLst>
                </a:gridCol>
                <a:gridCol w="950383">
                  <a:extLst>
                    <a:ext uri="{9D8B030D-6E8A-4147-A177-3AD203B41FA5}">
                      <a16:colId xmlns:a16="http://schemas.microsoft.com/office/drawing/2014/main" val="2169655969"/>
                    </a:ext>
                  </a:extLst>
                </a:gridCol>
              </a:tblGrid>
              <a:tr h="381000">
                <a:tc rowSpan="2" gridSpan="2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          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　　　　　　　　　　</a:t>
                      </a: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材料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成</a:t>
                      </a: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本種類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折現率</a:t>
                      </a: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3%</a:t>
                      </a: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計算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折現率</a:t>
                      </a: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7%</a:t>
                      </a: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計算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5274028"/>
                  </a:ext>
                </a:extLst>
              </a:tr>
              <a:tr h="457200">
                <a:tc gridSpan="2"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PC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原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PP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替代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玻璃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替代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4572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4572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4572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4572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PC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原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PP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替代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玻璃</a:t>
                      </a:r>
                      <a:endParaRPr kumimoji="0" lang="en-US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替代材料</a:t>
                      </a:r>
                      <a:r>
                        <a:rPr kumimoji="0" lang="en-US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7605394"/>
                  </a:ext>
                </a:extLst>
              </a:tr>
              <a:tr h="315384">
                <a:tc rowSpan="5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經濟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資金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35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35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8341839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起始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55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7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55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7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5407747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營運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2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32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75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8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9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2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4850614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生命終了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028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1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2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02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09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0.1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5811307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間接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82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68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8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68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5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706578"/>
                  </a:ext>
                </a:extLst>
              </a:tr>
              <a:tr h="315384">
                <a:tc gridSpan="2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小計 經濟成本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美元 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個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24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32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91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84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93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46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269441"/>
                  </a:ext>
                </a:extLst>
              </a:tr>
              <a:tr h="315384">
                <a:tc rowSpan="6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環境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與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社會</a:t>
                      </a:r>
                    </a:p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成本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水質衝擊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8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5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42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9710637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空氣汙染排放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1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09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08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087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7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5762727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溫室氣體排放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2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1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1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19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1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119057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廢棄物及處理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2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6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0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7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54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83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7352371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致死率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3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20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9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166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407912"/>
                  </a:ext>
                </a:extLst>
              </a:tr>
              <a:tr h="315384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發病率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39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99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32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0081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-</a:t>
                      </a:r>
                      <a:endParaRPr kumimoji="0" lang="zh-TW" altLang="zh-TW" sz="15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1870187"/>
                  </a:ext>
                </a:extLst>
              </a:tr>
              <a:tr h="315384">
                <a:tc gridSpan="2"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小計 環境與社會成本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美元 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個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39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223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7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1.97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184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0.014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10496"/>
                  </a:ext>
                </a:extLst>
              </a:tr>
              <a:tr h="315384">
                <a:tc grid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合計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美元 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kumimoji="0" lang="zh-TW" altLang="en-US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個</a:t>
                      </a:r>
                      <a:r>
                        <a:rPr kumimoji="0" lang="en-US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)</a:t>
                      </a:r>
                      <a:endParaRPr kumimoji="0" lang="zh-TW" altLang="en-US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4.62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54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92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3.81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11</a:t>
                      </a:r>
                      <a:endParaRPr kumimoji="0" lang="zh-TW" altLang="zh-TW" sz="15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684213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190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defRPr>
                      </a:lvl1pPr>
                      <a:lvl2pPr marL="742950" indent="-28575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3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 defTabSz="684213">
                        <a:lnSpc>
                          <a:spcPct val="90000"/>
                        </a:lnSpc>
                        <a:spcBef>
                          <a:spcPts val="375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defTabSz="684213" fontAlgn="base">
                        <a:lnSpc>
                          <a:spcPct val="90000"/>
                        </a:lnSpc>
                        <a:spcBef>
                          <a:spcPts val="375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6842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zh-TW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華康中圓體"/>
                          <a:cs typeface="Times New Roman" panose="02020603050405020304" pitchFamily="18" charset="0"/>
                        </a:rPr>
                        <a:t>2.47</a:t>
                      </a:r>
                      <a:endParaRPr kumimoji="0" lang="zh-TW" altLang="zh-TW" sz="15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華康中圓體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1390874"/>
                  </a:ext>
                </a:extLst>
              </a:tr>
            </a:tbl>
          </a:graphicData>
        </a:graphic>
      </p:graphicFrame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B02F4AC4-0837-463B-8745-312DE69EF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04500" y="6493933"/>
            <a:ext cx="2743200" cy="364067"/>
          </a:xfrm>
        </p:spPr>
        <p:txBody>
          <a:bodyPr/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fld id="{A8CC5177-E6E1-4F0D-93FE-9495CDBA0BEF}" type="slidenum">
              <a:rPr lang="zh-TW" altLang="en-US" sz="1400" b="1">
                <a:solidFill>
                  <a:srgbClr val="333333">
                    <a:lumMod val="50000"/>
                  </a:srgbClr>
                </a:solidFill>
                <a:latin typeface="Arial" pitchFamily="34" charset="0"/>
                <a:ea typeface="新細明體" panose="02020500000000000000" pitchFamily="18" charset="-120"/>
              </a:rPr>
              <a:pPr algn="ctr"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t>66</a:t>
            </a:fld>
            <a:endParaRPr lang="zh-TW" altLang="en-US" sz="1400" b="1" dirty="0">
              <a:solidFill>
                <a:srgbClr val="333333">
                  <a:lumMod val="50000"/>
                </a:srgbClr>
              </a:solidFill>
              <a:latin typeface="Arial" pitchFamily="34" charset="0"/>
              <a:ea typeface="新細明體" panose="02020500000000000000" pitchFamily="18" charset="-120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D16CFF51-D83B-4B1C-8886-E484EB551ECE}"/>
              </a:ext>
            </a:extLst>
          </p:cNvPr>
          <p:cNvSpPr/>
          <p:nvPr/>
        </p:nvSpPr>
        <p:spPr>
          <a:xfrm>
            <a:off x="8923240" y="6623509"/>
            <a:ext cx="27768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12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參考資料：</a:t>
            </a:r>
            <a:r>
              <a:rPr lang="en-US" altLang="zh-TW" sz="1200" b="1" dirty="0">
                <a:solidFill>
                  <a:srgbClr val="3333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Horvath &amp; Stokes (2012)</a:t>
            </a:r>
            <a:endParaRPr lang="zh-TW" altLang="en-US" sz="1200" b="1" dirty="0">
              <a:solidFill>
                <a:srgbClr val="333333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8" name="Rectangle 36">
            <a:extLst>
              <a:ext uri="{FF2B5EF4-FFF2-40B4-BE49-F238E27FC236}">
                <a16:creationId xmlns:a16="http://schemas.microsoft.com/office/drawing/2014/main" id="{7B9DC57D-909D-493D-B239-70B3BE8E2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1" y="287867"/>
            <a:ext cx="10883900" cy="742951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1pPr>
            <a:lvl2pPr marL="37931725" indent="-37474525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5pPr>
            <a:lvl6pPr marL="25146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6pPr>
            <a:lvl7pPr marL="29718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7pPr>
            <a:lvl8pPr marL="34290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8pPr>
            <a:lvl9pPr marL="3886200" indent="-228600" defTabSz="685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微軟正黑體" panose="020B0604030504040204" pitchFamily="34" charset="-120"/>
              </a:defRPr>
            </a:lvl9pPr>
          </a:lstStyle>
          <a:p>
            <a:pPr algn="ctr" defTabSz="914377" fontAlgn="base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3600" b="1" dirty="0">
                <a:solidFill>
                  <a:srgbClr val="54823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anose="020B0604030504040204" pitchFamily="34" charset="-120"/>
              </a:rPr>
              <a:t>案例：國外成本效益分析案例 </a:t>
            </a:r>
            <a:r>
              <a:rPr kumimoji="1" lang="en-US" altLang="zh-TW" sz="3600" b="1" dirty="0">
                <a:solidFill>
                  <a:srgbClr val="54823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anose="020B0604030504040204" pitchFamily="34" charset="-120"/>
              </a:rPr>
              <a:t>–</a:t>
            </a:r>
            <a:r>
              <a:rPr kumimoji="1" lang="zh-TW" altLang="en-US" sz="3600" b="1" dirty="0">
                <a:solidFill>
                  <a:srgbClr val="54823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anose="020B0604030504040204" pitchFamily="34" charset="-120"/>
              </a:rPr>
              <a:t> 嬰兒奶瓶材料替代</a:t>
            </a:r>
          </a:p>
        </p:txBody>
      </p:sp>
    </p:spTree>
    <p:extLst>
      <p:ext uri="{BB962C8B-B14F-4D97-AF65-F5344CB8AC3E}">
        <p14:creationId xmlns:p14="http://schemas.microsoft.com/office/powerpoint/2010/main" val="933857128"/>
      </p:ext>
    </p:extLst>
  </p:cSld>
  <p:clrMapOvr>
    <a:masterClrMapping/>
  </p:clrMapOvr>
  <p:transition/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標題 16">
            <a:extLst>
              <a:ext uri="{FF2B5EF4-FFF2-40B4-BE49-F238E27FC236}">
                <a16:creationId xmlns:a16="http://schemas.microsoft.com/office/drawing/2014/main" id="{17246DF4-5A5B-4442-A2FE-831176AB7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教育訓練－影片教學</a:t>
            </a:r>
          </a:p>
        </p:txBody>
      </p:sp>
      <p:sp>
        <p:nvSpPr>
          <p:cNvPr id="3" name="投影片編號版面配置區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630"/>
            <a:fld id="{3CBD9E41-3741-4017-A2C2-A6D983F224CA}" type="slidenum">
              <a:rPr lang="zh-TW" altLang="en-US">
                <a:solidFill>
                  <a:prstClr val="black">
                    <a:tint val="75000"/>
                  </a:prstClr>
                </a:solidFill>
                <a:ea typeface="新細明體" panose="02020500000000000000" pitchFamily="18" charset="-120"/>
              </a:rPr>
              <a:pPr defTabSz="609630"/>
              <a:t>67</a:t>
            </a:fld>
            <a:endParaRPr lang="zh-TW" altLang="en-US" dirty="0">
              <a:solidFill>
                <a:prstClr val="black">
                  <a:tint val="75000"/>
                </a:prstClr>
              </a:solidFill>
              <a:ea typeface="新細明體" panose="02020500000000000000" pitchFamily="18" charset="-120"/>
            </a:endParaRPr>
          </a:p>
        </p:txBody>
      </p:sp>
      <p:grpSp>
        <p:nvGrpSpPr>
          <p:cNvPr id="40" name="群組 39"/>
          <p:cNvGrpSpPr/>
          <p:nvPr/>
        </p:nvGrpSpPr>
        <p:grpSpPr>
          <a:xfrm>
            <a:off x="955332" y="3645710"/>
            <a:ext cx="9703145" cy="2487937"/>
            <a:chOff x="745780" y="3645708"/>
            <a:chExt cx="9703145" cy="2487936"/>
          </a:xfrm>
        </p:grpSpPr>
        <p:sp>
          <p:nvSpPr>
            <p:cNvPr id="23" name="文字方塊 22">
              <a:extLst>
                <a:ext uri="{FF2B5EF4-FFF2-40B4-BE49-F238E27FC236}">
                  <a16:creationId xmlns:a16="http://schemas.microsoft.com/office/drawing/2014/main" id="{F0F2482A-158E-46BB-82F1-6E3BDBA0276E}"/>
                </a:ext>
              </a:extLst>
            </p:cNvPr>
            <p:cNvSpPr txBox="1"/>
            <p:nvPr/>
          </p:nvSpPr>
          <p:spPr>
            <a:xfrm>
              <a:off x="745780" y="3645708"/>
              <a:ext cx="3313596" cy="497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65" indent="-285765" defTabSz="609630">
                <a:lnSpc>
                  <a:spcPct val="150000"/>
                </a:lnSpc>
                <a:buFont typeface="Wingdings" panose="05000000000000000000" pitchFamily="2" charset="2"/>
                <a:buChar char="n"/>
                <a:defRPr/>
              </a:pPr>
              <a:r>
                <a:rPr lang="zh-TW" altLang="en-US" sz="2000" b="1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減碳知識</a:t>
              </a:r>
              <a:r>
                <a:rPr lang="en-US" altLang="zh-TW" sz="2000" b="1" baseline="300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+</a:t>
              </a:r>
            </a:p>
          </p:txBody>
        </p:sp>
        <p:sp>
          <p:nvSpPr>
            <p:cNvPr id="24" name="文字方塊 23">
              <a:extLst>
                <a:ext uri="{FF2B5EF4-FFF2-40B4-BE49-F238E27FC236}">
                  <a16:creationId xmlns:a16="http://schemas.microsoft.com/office/drawing/2014/main" id="{F0F2482A-158E-46BB-82F1-6E3BDBA0276E}"/>
                </a:ext>
              </a:extLst>
            </p:cNvPr>
            <p:cNvSpPr txBox="1"/>
            <p:nvPr/>
          </p:nvSpPr>
          <p:spPr>
            <a:xfrm>
              <a:off x="1039397" y="4102723"/>
              <a:ext cx="9409528" cy="785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09630">
                <a:lnSpc>
                  <a:spcPct val="150000"/>
                </a:lnSpc>
                <a:defRPr/>
              </a:pPr>
              <a:r>
                <a:rPr lang="zh-TW" altLang="en-US" sz="16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邀請到國內環境面向首屈一指的專家，從認知、盤查、揭露、目標策略設定、減量到驗證，協助企業建構系統性的淨零碳排路徑。</a:t>
              </a:r>
              <a:endParaRPr lang="en-US" altLang="zh-TW" sz="16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pic>
          <p:nvPicPr>
            <p:cNvPr id="25" name="圖片 24"/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90411" y="5019894"/>
              <a:ext cx="1980000" cy="11124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2" name="圖片 3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78111" y="5019894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9" name="圖片 2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552978" y="5019894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3" name="圖片 3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15545" y="5019894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39" name="群組 38"/>
          <p:cNvGrpSpPr/>
          <p:nvPr/>
        </p:nvGrpSpPr>
        <p:grpSpPr>
          <a:xfrm>
            <a:off x="955332" y="968656"/>
            <a:ext cx="9703145" cy="2477674"/>
            <a:chOff x="650530" y="1054381"/>
            <a:chExt cx="9703145" cy="2477674"/>
          </a:xfrm>
        </p:grpSpPr>
        <p:sp>
          <p:nvSpPr>
            <p:cNvPr id="6" name="文字方塊 5">
              <a:extLst>
                <a:ext uri="{FF2B5EF4-FFF2-40B4-BE49-F238E27FC236}">
                  <a16:creationId xmlns:a16="http://schemas.microsoft.com/office/drawing/2014/main" id="{F0F2482A-158E-46BB-82F1-6E3BDBA0276E}"/>
                </a:ext>
              </a:extLst>
            </p:cNvPr>
            <p:cNvSpPr txBox="1"/>
            <p:nvPr/>
          </p:nvSpPr>
          <p:spPr>
            <a:xfrm>
              <a:off x="650530" y="1054381"/>
              <a:ext cx="3313596" cy="4973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65" indent="-285765" defTabSz="609630">
                <a:lnSpc>
                  <a:spcPct val="150000"/>
                </a:lnSpc>
                <a:buFont typeface="Wingdings" panose="05000000000000000000" pitchFamily="2" charset="2"/>
                <a:buChar char="n"/>
                <a:defRPr/>
              </a:pPr>
              <a:r>
                <a:rPr lang="zh-TW" altLang="en-US" sz="2000" b="1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溫老師帶你做永續</a:t>
              </a:r>
              <a:endParaRPr lang="en-US" altLang="zh-TW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 panose="020B0604020202020204" pitchFamily="34" charset="0"/>
              </a:endParaRPr>
            </a:p>
          </p:txBody>
        </p:sp>
        <p:sp>
          <p:nvSpPr>
            <p:cNvPr id="15" name="文字方塊 14">
              <a:extLst>
                <a:ext uri="{FF2B5EF4-FFF2-40B4-BE49-F238E27FC236}">
                  <a16:creationId xmlns:a16="http://schemas.microsoft.com/office/drawing/2014/main" id="{F0F2482A-158E-46BB-82F1-6E3BDBA0276E}"/>
                </a:ext>
              </a:extLst>
            </p:cNvPr>
            <p:cNvSpPr txBox="1"/>
            <p:nvPr/>
          </p:nvSpPr>
          <p:spPr>
            <a:xfrm>
              <a:off x="944147" y="1511396"/>
              <a:ext cx="9409528" cy="785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609630">
                <a:lnSpc>
                  <a:spcPct val="150000"/>
                </a:lnSpc>
                <a:defRPr/>
              </a:pPr>
              <a:r>
                <a:rPr lang="zh-TW" altLang="en-US" sz="16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透過</a:t>
              </a:r>
              <a:r>
                <a:rPr lang="en-US" altLang="zh-TW" sz="16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10</a:t>
              </a:r>
              <a:r>
                <a:rPr lang="zh-TW" altLang="en-US" sz="16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cs typeface="Arial" panose="020B0604020202020204" pitchFamily="34" charset="0"/>
                </a:rPr>
                <a:t>分鐘影片，讓大眾迅速瞭解、釐清最新的環境資訊，如：綠色金融、碳邊境調整機制、碳排放交易等，進而做出正確有效的判斷和決策。</a:t>
              </a:r>
            </a:p>
          </p:txBody>
        </p:sp>
        <p:pic>
          <p:nvPicPr>
            <p:cNvPr id="14" name="圖片 1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95161" y="2418305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2" name="圖片 2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720295" y="2418305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7" name="圖片 26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982861" y="2418305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38" name="圖片 3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457728" y="2418305"/>
              <a:ext cx="1980000" cy="111375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</p:spTree>
    <p:extLst>
      <p:ext uri="{BB962C8B-B14F-4D97-AF65-F5344CB8AC3E}">
        <p14:creationId xmlns:p14="http://schemas.microsoft.com/office/powerpoint/2010/main" val="330226028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>
            <a:extLst>
              <a:ext uri="{FF2B5EF4-FFF2-40B4-BE49-F238E27FC236}">
                <a16:creationId xmlns:a16="http://schemas.microsoft.com/office/drawing/2014/main" id="{8E006ADD-C196-4035-AFA8-8800481EA6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88551" y="475509"/>
            <a:ext cx="7896363" cy="5049948"/>
          </a:xfrm>
          <a:prstGeom prst="rect">
            <a:avLst/>
          </a:prstGeom>
        </p:spPr>
      </p:pic>
      <p:sp>
        <p:nvSpPr>
          <p:cNvPr id="3" name="文字方塊 2">
            <a:extLst>
              <a:ext uri="{FF2B5EF4-FFF2-40B4-BE49-F238E27FC236}">
                <a16:creationId xmlns:a16="http://schemas.microsoft.com/office/drawing/2014/main" id="{0FE0854B-9584-448B-BE4B-EB7A11A7990E}"/>
              </a:ext>
            </a:extLst>
          </p:cNvPr>
          <p:cNvSpPr txBox="1"/>
          <p:nvPr/>
        </p:nvSpPr>
        <p:spPr>
          <a:xfrm>
            <a:off x="6225474" y="2989693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敬請指教</a:t>
            </a:r>
          </a:p>
        </p:txBody>
      </p:sp>
    </p:spTree>
    <p:extLst>
      <p:ext uri="{BB962C8B-B14F-4D97-AF65-F5344CB8AC3E}">
        <p14:creationId xmlns:p14="http://schemas.microsoft.com/office/powerpoint/2010/main" val="1437868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>
            <a:extLst>
              <a:ext uri="{FF2B5EF4-FFF2-40B4-BE49-F238E27FC236}">
                <a16:creationId xmlns:a16="http://schemas.microsoft.com/office/drawing/2014/main" id="{31A5BF1D-7457-AD4D-A573-61919D4F7F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60" r="27710"/>
          <a:stretch/>
        </p:blipFill>
        <p:spPr>
          <a:xfrm>
            <a:off x="20" y="12"/>
            <a:ext cx="2970445" cy="3383269"/>
          </a:xfrm>
          <a:prstGeom prst="rect">
            <a:avLst/>
          </a:prstGeom>
        </p:spPr>
      </p:pic>
      <p:pic>
        <p:nvPicPr>
          <p:cNvPr id="8" name="圖片 7">
            <a:extLst>
              <a:ext uri="{FF2B5EF4-FFF2-40B4-BE49-F238E27FC236}">
                <a16:creationId xmlns:a16="http://schemas.microsoft.com/office/drawing/2014/main" id="{31E2F06B-49F3-BD42-BB58-9E8F9E2ACE3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834" b="2"/>
          <a:stretch/>
        </p:blipFill>
        <p:spPr>
          <a:xfrm>
            <a:off x="3072958" y="11"/>
            <a:ext cx="2970465" cy="3383268"/>
          </a:xfrm>
          <a:prstGeom prst="rect">
            <a:avLst/>
          </a:prstGeom>
        </p:spPr>
      </p:pic>
      <p:pic>
        <p:nvPicPr>
          <p:cNvPr id="9" name="圖片 8">
            <a:extLst>
              <a:ext uri="{FF2B5EF4-FFF2-40B4-BE49-F238E27FC236}">
                <a16:creationId xmlns:a16="http://schemas.microsoft.com/office/drawing/2014/main" id="{B025DE98-C9CF-C94C-9404-7A4370C1DCD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" b="14728"/>
          <a:stretch/>
        </p:blipFill>
        <p:spPr>
          <a:xfrm>
            <a:off x="6145909" y="11"/>
            <a:ext cx="2971800" cy="3383268"/>
          </a:xfrm>
          <a:prstGeom prst="rect">
            <a:avLst/>
          </a:prstGeom>
        </p:spPr>
      </p:pic>
      <p:pic>
        <p:nvPicPr>
          <p:cNvPr id="5" name="內容版面配置區 4">
            <a:extLst>
              <a:ext uri="{FF2B5EF4-FFF2-40B4-BE49-F238E27FC236}">
                <a16:creationId xmlns:a16="http://schemas.microsoft.com/office/drawing/2014/main" id="{48580989-0046-334D-851A-8D1323F27CC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3279" r="27368" b="2"/>
          <a:stretch/>
        </p:blipFill>
        <p:spPr>
          <a:xfrm>
            <a:off x="9220200" y="11"/>
            <a:ext cx="2971800" cy="3383268"/>
          </a:xfrm>
          <a:prstGeom prst="rect">
            <a:avLst/>
          </a:prstGeom>
        </p:spPr>
      </p:pic>
      <p:pic>
        <p:nvPicPr>
          <p:cNvPr id="7" name="圖片 6">
            <a:extLst>
              <a:ext uri="{FF2B5EF4-FFF2-40B4-BE49-F238E27FC236}">
                <a16:creationId xmlns:a16="http://schemas.microsoft.com/office/drawing/2014/main" id="{AD71982F-02B7-6C4F-B60F-EC208B6900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4810"/>
          <a:stretch/>
        </p:blipFill>
        <p:spPr>
          <a:xfrm>
            <a:off x="-1017" y="3474720"/>
            <a:ext cx="6044439" cy="3383280"/>
          </a:xfrm>
          <a:prstGeom prst="rect">
            <a:avLst/>
          </a:prstGeom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9D83F0FF-47F1-2041-9831-74AE37CD9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1655" y="3799274"/>
            <a:ext cx="5193748" cy="637124"/>
          </a:xfrm>
        </p:spPr>
        <p:txBody>
          <a:bodyPr vert="horz" lIns="91440" tIns="45720" rIns="91440" bIns="45720" rtlCol="0" anchor="ctr">
            <a:noAutofit/>
          </a:bodyPr>
          <a:lstStyle/>
          <a:p>
            <a:pPr defTabSz="914354"/>
            <a:r>
              <a:rPr kumimoji="1" lang="zh-TW" altLang="en-US" sz="2800" dirty="0"/>
              <a:t>德州暴風雪帶來</a:t>
            </a:r>
            <a:r>
              <a:rPr lang="zh-TW" altLang="en-US" sz="2800" dirty="0"/>
              <a:t>經濟指標崩壞</a:t>
            </a:r>
            <a:endParaRPr kumimoji="1" lang="en-US" altLang="zh-TW" sz="2800" dirty="0">
              <a:solidFill>
                <a:srgbClr val="FFFFFF"/>
              </a:solidFill>
              <a:ea typeface="+mj-ea"/>
              <a:cs typeface="+mj-cs"/>
            </a:endParaRP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6F481B2-3032-45F4-8F63-977671C170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9649" y="4510587"/>
            <a:ext cx="5366611" cy="1758732"/>
          </a:xfrm>
        </p:spPr>
        <p:txBody>
          <a:bodyPr>
            <a:normAutofit fontScale="92500" lnSpcReduction="20000"/>
          </a:bodyPr>
          <a:lstStyle/>
          <a:p>
            <a:r>
              <a:rPr lang="zh-TW" altLang="en-US" sz="2000" dirty="0"/>
              <a:t>約</a:t>
            </a:r>
            <a:r>
              <a:rPr lang="en-US" altLang="zh-TW" sz="2000" dirty="0"/>
              <a:t>1430</a:t>
            </a:r>
            <a:r>
              <a:rPr lang="zh-TW" altLang="en-US" sz="2000" dirty="0"/>
              <a:t>萬人缺乏乾淨飲水</a:t>
            </a:r>
            <a:endParaRPr lang="en-US" altLang="zh-TW" sz="2000" dirty="0"/>
          </a:p>
          <a:p>
            <a:r>
              <a:rPr lang="zh-TW" altLang="en-US" sz="2000" dirty="0"/>
              <a:t>一度</a:t>
            </a:r>
            <a:r>
              <a:rPr lang="en-US" altLang="zh-TW" sz="2000" dirty="0"/>
              <a:t>400</a:t>
            </a:r>
            <a:r>
              <a:rPr lang="zh-TW" altLang="en-US" sz="2000" dirty="0"/>
              <a:t>萬人斷電的情況</a:t>
            </a:r>
            <a:endParaRPr lang="en-US" altLang="zh-TW" sz="2000" dirty="0"/>
          </a:p>
          <a:p>
            <a:r>
              <a:rPr lang="zh-TW" altLang="en-US" sz="2000" dirty="0"/>
              <a:t>居民收到電費帳單，竟暴漲近</a:t>
            </a:r>
            <a:r>
              <a:rPr lang="en-US" altLang="zh-TW" sz="2000" dirty="0"/>
              <a:t>200</a:t>
            </a:r>
            <a:r>
              <a:rPr lang="zh-TW" altLang="en-US" sz="2000" dirty="0"/>
              <a:t>倍，達到了</a:t>
            </a:r>
            <a:r>
              <a:rPr lang="en-US" altLang="zh-TW" sz="2000" dirty="0"/>
              <a:t>12000</a:t>
            </a:r>
            <a:r>
              <a:rPr lang="zh-TW" altLang="en-US" sz="2000" dirty="0"/>
              <a:t>美元</a:t>
            </a:r>
            <a:endParaRPr lang="en-US" altLang="zh-TW" sz="2000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7AB9B130-46F9-724C-BA8D-FFB5D85E9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40790" y="6312960"/>
            <a:ext cx="613012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609585">
              <a:spcAft>
                <a:spcPts val="600"/>
              </a:spcAft>
            </a:pPr>
            <a:fld id="{3CBD9E41-3741-4017-A2C2-A6D983F224CA}" type="slidenum">
              <a:rPr lang="en-US" altLang="zh-TW">
                <a:solidFill>
                  <a:srgbClr val="FFFFFF"/>
                </a:solidFill>
                <a:ea typeface="微軟正黑體"/>
              </a:rPr>
              <a:pPr defTabSz="609585">
                <a:spcAft>
                  <a:spcPts val="600"/>
                </a:spcAft>
              </a:pPr>
              <a:t>7</a:t>
            </a:fld>
            <a:endParaRPr lang="en-US" altLang="zh-TW">
              <a:solidFill>
                <a:srgbClr val="FFFFFF"/>
              </a:solidFill>
              <a:ea typeface="微軟正黑體"/>
            </a:endParaRPr>
          </a:p>
        </p:txBody>
      </p:sp>
    </p:spTree>
    <p:extLst>
      <p:ext uri="{BB962C8B-B14F-4D97-AF65-F5344CB8AC3E}">
        <p14:creationId xmlns:p14="http://schemas.microsoft.com/office/powerpoint/2010/main" val="325491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4">
            <a:extLst>
              <a:ext uri="{FF2B5EF4-FFF2-40B4-BE49-F238E27FC236}">
                <a16:creationId xmlns:a16="http://schemas.microsoft.com/office/drawing/2014/main" id="{72C6527A-66AE-40F7-9222-CF1AFB45625A}"/>
              </a:ext>
            </a:extLst>
          </p:cNvPr>
          <p:cNvSpPr>
            <a:spLocks noChangeShapeType="1"/>
          </p:cNvSpPr>
          <p:nvPr/>
        </p:nvSpPr>
        <p:spPr bwMode="black">
          <a:xfrm flipV="1">
            <a:off x="1104455" y="3198512"/>
            <a:ext cx="5777084" cy="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>
              <a:defRPr/>
            </a:pPr>
            <a:endParaRPr lang="zh-TW" altLang="en-US" dirty="0">
              <a:solidFill>
                <a:prstClr val="black"/>
              </a:solidFill>
              <a:latin typeface="Arial"/>
              <a:ea typeface="標楷體" panose="03000509000000000000" pitchFamily="65" charset="-120"/>
              <a:cs typeface="Times New Roman" panose="02020603050405020304" pitchFamily="18" charset="0"/>
            </a:endParaRPr>
          </a:p>
        </p:txBody>
      </p:sp>
      <p:sp>
        <p:nvSpPr>
          <p:cNvPr id="9" name="Line 4">
            <a:extLst>
              <a:ext uri="{FF2B5EF4-FFF2-40B4-BE49-F238E27FC236}">
                <a16:creationId xmlns:a16="http://schemas.microsoft.com/office/drawing/2014/main" id="{2995E0E7-CF07-42F2-ACFB-C5EDFB70A9D2}"/>
              </a:ext>
            </a:extLst>
          </p:cNvPr>
          <p:cNvSpPr>
            <a:spLocks noChangeShapeType="1"/>
          </p:cNvSpPr>
          <p:nvPr/>
        </p:nvSpPr>
        <p:spPr bwMode="black">
          <a:xfrm flipV="1">
            <a:off x="1104455" y="4166977"/>
            <a:ext cx="5777084" cy="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>
              <a:defRPr/>
            </a:pPr>
            <a:endParaRPr lang="zh-TW" altLang="en-US" dirty="0">
              <a:solidFill>
                <a:prstClr val="black"/>
              </a:solidFill>
              <a:latin typeface="Arial"/>
              <a:ea typeface="標楷體" panose="03000509000000000000" pitchFamily="65" charset="-120"/>
              <a:cs typeface="Times New Roman" panose="02020603050405020304" pitchFamily="18" charset="0"/>
            </a:endParaRPr>
          </a:p>
        </p:txBody>
      </p:sp>
      <p:sp>
        <p:nvSpPr>
          <p:cNvPr id="11" name="Line 4">
            <a:extLst>
              <a:ext uri="{FF2B5EF4-FFF2-40B4-BE49-F238E27FC236}">
                <a16:creationId xmlns:a16="http://schemas.microsoft.com/office/drawing/2014/main" id="{F9A77043-A37B-4091-8D19-303346EDCC69}"/>
              </a:ext>
            </a:extLst>
          </p:cNvPr>
          <p:cNvSpPr>
            <a:spLocks noChangeShapeType="1"/>
          </p:cNvSpPr>
          <p:nvPr/>
        </p:nvSpPr>
        <p:spPr bwMode="black">
          <a:xfrm flipV="1">
            <a:off x="1104455" y="5174977"/>
            <a:ext cx="5777084" cy="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>
              <a:defRPr/>
            </a:pPr>
            <a:endParaRPr lang="zh-TW" altLang="en-US" dirty="0">
              <a:solidFill>
                <a:prstClr val="black"/>
              </a:solidFill>
              <a:latin typeface="Arial"/>
              <a:ea typeface="標楷體" panose="03000509000000000000" pitchFamily="65" charset="-120"/>
              <a:cs typeface="Times New Roman" panose="02020603050405020304" pitchFamily="18" charset="0"/>
            </a:endParaRPr>
          </a:p>
        </p:txBody>
      </p:sp>
      <p:sp>
        <p:nvSpPr>
          <p:cNvPr id="12" name="Line 4">
            <a:extLst>
              <a:ext uri="{FF2B5EF4-FFF2-40B4-BE49-F238E27FC236}">
                <a16:creationId xmlns:a16="http://schemas.microsoft.com/office/drawing/2014/main" id="{407BB85D-20CA-4513-9D9E-A584109A2415}"/>
              </a:ext>
            </a:extLst>
          </p:cNvPr>
          <p:cNvSpPr>
            <a:spLocks noChangeShapeType="1"/>
          </p:cNvSpPr>
          <p:nvPr/>
        </p:nvSpPr>
        <p:spPr bwMode="black">
          <a:xfrm flipV="1">
            <a:off x="1214183" y="5821203"/>
            <a:ext cx="5777084" cy="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09585">
              <a:defRPr/>
            </a:pPr>
            <a:endParaRPr lang="zh-TW" altLang="en-US" dirty="0">
              <a:solidFill>
                <a:prstClr val="black"/>
              </a:solidFill>
              <a:latin typeface="Arial"/>
              <a:ea typeface="標楷體" panose="03000509000000000000" pitchFamily="65" charset="-120"/>
              <a:cs typeface="Times New Roman" panose="02020603050405020304" pitchFamily="18" charset="0"/>
            </a:endParaRPr>
          </a:p>
        </p:txBody>
      </p:sp>
      <p:sp>
        <p:nvSpPr>
          <p:cNvPr id="18" name="標題 1">
            <a:extLst>
              <a:ext uri="{FF2B5EF4-FFF2-40B4-BE49-F238E27FC236}">
                <a16:creationId xmlns:a16="http://schemas.microsoft.com/office/drawing/2014/main" id="{C3D0BB44-E1B7-4C66-9CE4-3FA392278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668" y="164951"/>
            <a:ext cx="10548133" cy="648000"/>
          </a:xfrm>
        </p:spPr>
        <p:txBody>
          <a:bodyPr>
            <a:normAutofit/>
          </a:bodyPr>
          <a:lstStyle/>
          <a:p>
            <a:r>
              <a:rPr lang="en-US" altLang="zh-TW" dirty="0">
                <a:ea typeface="微軟正黑體" panose="020B0604030504040204" pitchFamily="34" charset="-120"/>
                <a:cs typeface="Calibri" panose="020F0502020204030204" pitchFamily="34" charset="0"/>
              </a:rPr>
              <a:t>2030</a:t>
            </a:r>
            <a:r>
              <a:rPr lang="zh-TW" altLang="en-US" dirty="0">
                <a:ea typeface="微軟正黑體" panose="020B0604030504040204" pitchFamily="34" charset="-120"/>
                <a:cs typeface="Calibri" panose="020F0502020204030204" pitchFamily="34" charset="0"/>
              </a:rPr>
              <a:t>年為永續關鍵年</a:t>
            </a:r>
            <a:endParaRPr kumimoji="1" lang="zh-TW" altLang="en-US" dirty="0"/>
          </a:p>
        </p:txBody>
      </p:sp>
      <p:sp>
        <p:nvSpPr>
          <p:cNvPr id="10" name="投影片編號版面配置區 3">
            <a:extLst>
              <a:ext uri="{FF2B5EF4-FFF2-40B4-BE49-F238E27FC236}">
                <a16:creationId xmlns:a16="http://schemas.microsoft.com/office/drawing/2014/main" id="{2571E57B-9F35-4E8E-ADEC-16B713ED19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0000" y="6356350"/>
            <a:ext cx="2275200" cy="365125"/>
          </a:xfrm>
        </p:spPr>
        <p:txBody>
          <a:bodyPr/>
          <a:lstStyle/>
          <a:p>
            <a:pPr defTabSz="609585">
              <a:defRPr/>
            </a:pPr>
            <a:fld id="{3CBD9E41-3741-4017-A2C2-A6D983F224CA}" type="slidenum">
              <a:rPr lang="zh-TW" altLang="en-US">
                <a:solidFill>
                  <a:prstClr val="white">
                    <a:lumMod val="50000"/>
                  </a:prstClr>
                </a:solidFill>
                <a:ea typeface="微軟正黑體"/>
              </a:rPr>
              <a:pPr defTabSz="609585">
                <a:defRPr/>
              </a:pPr>
              <a:t>8</a:t>
            </a:fld>
            <a:endParaRPr lang="zh-TW" altLang="en-US" dirty="0">
              <a:solidFill>
                <a:prstClr val="white">
                  <a:lumMod val="50000"/>
                </a:prstClr>
              </a:solidFill>
              <a:ea typeface="微軟正黑體"/>
            </a:endParaRPr>
          </a:p>
        </p:txBody>
      </p:sp>
      <p:pic>
        <p:nvPicPr>
          <p:cNvPr id="7170" name="Picture 2" descr="SDGs — What are the goals to save our world? | by Katharina Buiten |  tech2impact | Medium">
            <a:extLst>
              <a:ext uri="{FF2B5EF4-FFF2-40B4-BE49-F238E27FC236}">
                <a16:creationId xmlns:a16="http://schemas.microsoft.com/office/drawing/2014/main" id="{7D5D311D-5681-2939-C240-24153E1CC4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307" y="1036796"/>
            <a:ext cx="10925385" cy="575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7425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E094F465-DD88-70E1-6FC9-0BAB96AC15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A661AE6-32E0-4D9A-8B9E-05894A0EDE4A}" type="slidenum">
              <a:rPr lang="en-US" altLang="zh-TW" smtClean="0"/>
              <a:pPr>
                <a:defRPr/>
              </a:pPr>
              <a:t>9</a:t>
            </a:fld>
            <a:endParaRPr lang="en-US" altLang="zh-TW" dirty="0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1945B698-A4E1-9EEE-9915-991458BD27C4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2641208" y="3089676"/>
            <a:ext cx="6909584" cy="6786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731502" eaLnBrk="0" fontAlgn="base" hangingPunct="0">
              <a:spcAft>
                <a:spcPts val="960"/>
              </a:spcAft>
              <a:buClr>
                <a:srgbClr val="000000"/>
              </a:buClr>
              <a:buSzPct val="110000"/>
              <a:defRPr/>
            </a:pPr>
            <a:r>
              <a:rPr kumimoji="1" lang="zh-TW" altLang="en-US" sz="4400" b="1" dirty="0">
                <a:solidFill>
                  <a:prstClr val="black"/>
                </a:solidFill>
                <a:latin typeface="Calibri" panose="020F0502020204030204"/>
                <a:ea typeface="微軟正黑體" panose="020B0604030504040204" pitchFamily="34" charset="-120"/>
                <a:cs typeface="Arial"/>
                <a:sym typeface="Arial"/>
              </a:rPr>
              <a:t>企業環境外部成本知多少？</a:t>
            </a:r>
            <a:endParaRPr kumimoji="1" lang="en-US" altLang="zh-TW" sz="4400" b="1" dirty="0">
              <a:solidFill>
                <a:prstClr val="black"/>
              </a:solidFill>
              <a:latin typeface="Calibri" panose="020F0502020204030204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581E0B8C-F3DB-083A-AAB6-7E3FB3C73CC3}"/>
              </a:ext>
            </a:extLst>
          </p:cNvPr>
          <p:cNvSpPr txBox="1"/>
          <p:nvPr/>
        </p:nvSpPr>
        <p:spPr>
          <a:xfrm>
            <a:off x="5035387" y="4906155"/>
            <a:ext cx="6736891" cy="10813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1219170">
              <a:lnSpc>
                <a:spcPts val="4440"/>
              </a:lnSpc>
              <a:buClr>
                <a:srgbClr val="000000"/>
              </a:buClr>
            </a:pPr>
            <a:r>
              <a:rPr lang="en-US" sz="3195" kern="0" dirty="0" err="1">
                <a:solidFill>
                  <a:srgbClr val="03989E"/>
                </a:solidFill>
                <a:latin typeface="Arial"/>
                <a:ea typeface="思源宋体-超粗体"/>
                <a:cs typeface="Arial"/>
                <a:sym typeface="Arial"/>
              </a:rPr>
              <a:t>環境外部成本的風險</a:t>
            </a:r>
            <a:r>
              <a:rPr lang="en-US" sz="3195" kern="0" dirty="0">
                <a:solidFill>
                  <a:srgbClr val="03989E"/>
                </a:solidFill>
                <a:latin typeface="Arial"/>
                <a:ea typeface="思源宋体-超粗体"/>
                <a:cs typeface="Arial"/>
                <a:sym typeface="Arial"/>
              </a:rPr>
              <a:t>？</a:t>
            </a:r>
          </a:p>
          <a:p>
            <a:pPr algn="r" defTabSz="1219170">
              <a:lnSpc>
                <a:spcPts val="4440"/>
              </a:lnSpc>
              <a:buClr>
                <a:srgbClr val="000000"/>
              </a:buClr>
            </a:pPr>
            <a:r>
              <a:rPr lang="en-US" sz="3195" kern="0" dirty="0" err="1">
                <a:solidFill>
                  <a:srgbClr val="03989E"/>
                </a:solidFill>
                <a:latin typeface="Arial"/>
                <a:ea typeface="思源宋体-超粗体"/>
                <a:cs typeface="Arial"/>
                <a:sym typeface="Arial"/>
              </a:rPr>
              <a:t>碳定價下的經濟競爭力</a:t>
            </a:r>
            <a:r>
              <a:rPr lang="en-US" sz="3195" kern="0" dirty="0">
                <a:solidFill>
                  <a:srgbClr val="03989E"/>
                </a:solidFill>
                <a:latin typeface="Arial"/>
                <a:ea typeface="思源宋体-超粗体"/>
                <a:cs typeface="Arial"/>
                <a:sym typeface="Arial"/>
              </a:rPr>
              <a:t>？</a:t>
            </a:r>
          </a:p>
        </p:txBody>
      </p:sp>
    </p:spTree>
    <p:extLst>
      <p:ext uri="{BB962C8B-B14F-4D97-AF65-F5344CB8AC3E}">
        <p14:creationId xmlns:p14="http://schemas.microsoft.com/office/powerpoint/2010/main" val="4239537574"/>
      </p:ext>
    </p:extLst>
  </p:cSld>
  <p:clrMapOvr>
    <a:masterClrMapping/>
  </p:clrMapOvr>
  <p:transition spd="slow">
    <p:cover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新版logo簡報範本">
  <a:themeElements>
    <a:clrScheme name="自訂 1">
      <a:dk1>
        <a:sysClr val="windowText" lastClr="000000"/>
      </a:dk1>
      <a:lt1>
        <a:srgbClr val="FFFFFF"/>
      </a:lt1>
      <a:dk2>
        <a:srgbClr val="44546A"/>
      </a:dk2>
      <a:lt2>
        <a:srgbClr val="00909E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自訂 2">
      <a:majorFont>
        <a:latin typeface="Arial"/>
        <a:ea typeface="微軟正黑體"/>
        <a:cs typeface=""/>
      </a:majorFont>
      <a:minorFont>
        <a:latin typeface="Arial"/>
        <a:ea typeface="微軟正黑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rgbClr val="27496D"/>
          </a:solidFill>
        </a:ln>
        <a:effectLst/>
      </a:spPr>
      <a:bodyPr rtlCol="0" anchor="ctr"/>
      <a:lstStyle>
        <a:defPPr algn="ctr">
          <a:defRPr sz="17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ntents Slide Master">
  <a:themeElements>
    <a:clrScheme name="ALLPPT-COLOR 10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11116 永豐餘 邁向碳中和的企業之道（温麗琪）" id="{9EF282C7-6A8E-944F-9178-DB3931C7764F}" vid="{66A6479E-C8E8-4442-A9CC-EC63B85E787D}"/>
    </a:ext>
  </a:extLst>
</a:theme>
</file>

<file path=ppt/theme/theme4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主题5">
  <a:themeElements>
    <a:clrScheme name="經濟學人配色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794A7"/>
      </a:accent1>
      <a:accent2>
        <a:srgbClr val="014D64"/>
      </a:accent2>
      <a:accent3>
        <a:srgbClr val="76C0C1"/>
      </a:accent3>
      <a:accent4>
        <a:srgbClr val="01A2D9"/>
      </a:accent4>
      <a:accent5>
        <a:srgbClr val="7AD2F6"/>
      </a:accent5>
      <a:accent6>
        <a:srgbClr val="00887D"/>
      </a:accent6>
      <a:hlink>
        <a:srgbClr val="ADADAD"/>
      </a:hlink>
      <a:folHlink>
        <a:srgbClr val="7C260B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7.xml><?xml version="1.0" encoding="utf-8"?>
<a:theme xmlns:a="http://schemas.openxmlformats.org/drawingml/2006/main" name="1_新版logo簡報範本">
  <a:themeElements>
    <a:clrScheme name="自訂 1">
      <a:dk1>
        <a:srgbClr val="000000"/>
      </a:dk1>
      <a:lt1>
        <a:srgbClr val="FFFFFF"/>
      </a:lt1>
      <a:dk2>
        <a:srgbClr val="44546A"/>
      </a:dk2>
      <a:lt2>
        <a:srgbClr val="00909E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95</TotalTime>
  <Words>7653</Words>
  <Application>Microsoft Office PowerPoint</Application>
  <PresentationFormat>寬螢幕</PresentationFormat>
  <Paragraphs>808</Paragraphs>
  <Slides>68</Slides>
  <Notes>36</Notes>
  <HiddenSlides>0</HiddenSlides>
  <MMClips>0</MMClips>
  <ScaleCrop>false</ScaleCrop>
  <HeadingPairs>
    <vt:vector size="8" baseType="variant">
      <vt:variant>
        <vt:lpstr>使用字型</vt:lpstr>
      </vt:variant>
      <vt:variant>
        <vt:i4>20</vt:i4>
      </vt:variant>
      <vt:variant>
        <vt:lpstr>佈景主題</vt:lpstr>
      </vt:variant>
      <vt:variant>
        <vt:i4>7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68</vt:i4>
      </vt:variant>
    </vt:vector>
  </HeadingPairs>
  <TitlesOfParts>
    <vt:vector size="96" baseType="lpstr">
      <vt:lpstr>Glacial Indifference</vt:lpstr>
      <vt:lpstr>Glacial Indifference Bold</vt:lpstr>
      <vt:lpstr>Heiti TC Light</vt:lpstr>
      <vt:lpstr>LANTINGHEI SC DEMIBOLD</vt:lpstr>
      <vt:lpstr>Microsoft JhengHei Light</vt:lpstr>
      <vt:lpstr>微软雅黑</vt:lpstr>
      <vt:lpstr>微软雅黑</vt:lpstr>
      <vt:lpstr>Noto Sans Symbols</vt:lpstr>
      <vt:lpstr>微軟正黑體</vt:lpstr>
      <vt:lpstr>微軟正黑體</vt:lpstr>
      <vt:lpstr>PMingLiU</vt:lpstr>
      <vt:lpstr>PMingLiU</vt:lpstr>
      <vt:lpstr>楷體-繁</vt:lpstr>
      <vt:lpstr>標楷體</vt:lpstr>
      <vt:lpstr>Arial</vt:lpstr>
      <vt:lpstr>Calibri</vt:lpstr>
      <vt:lpstr>Calibri Light</vt:lpstr>
      <vt:lpstr>Cambria Math</vt:lpstr>
      <vt:lpstr>Times New Roman</vt:lpstr>
      <vt:lpstr>Wingdings</vt:lpstr>
      <vt:lpstr>新版logo簡報範本</vt:lpstr>
      <vt:lpstr>Contents Slide Master</vt:lpstr>
      <vt:lpstr>5_Office 佈景主題</vt:lpstr>
      <vt:lpstr>Office 佈景主題</vt:lpstr>
      <vt:lpstr>5_Office Theme</vt:lpstr>
      <vt:lpstr>主题5</vt:lpstr>
      <vt:lpstr>1_新版logo簡報範本</vt:lpstr>
      <vt:lpstr>think-cell Slide</vt:lpstr>
      <vt:lpstr>ESG的企業意涵與永續金融─紡織業如何推展ESG</vt:lpstr>
      <vt:lpstr>自我介紹</vt:lpstr>
      <vt:lpstr>PowerPoint 簡報</vt:lpstr>
      <vt:lpstr>PowerPoint 簡報</vt:lpstr>
      <vt:lpstr>IPCC第六次評估報告（AR6）</vt:lpstr>
      <vt:lpstr>《刺胳針倒數》：氣候變遷嚴重威脅人類健康，所有指標都在惡化！</vt:lpstr>
      <vt:lpstr>德州暴風雪帶來經濟指標崩壞</vt:lpstr>
      <vt:lpstr>2030年為永續關鍵年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歐盟永續分類標準</vt:lpstr>
      <vt:lpstr>分類法下資金可導入之經濟活動 </vt:lpstr>
      <vt:lpstr>PowerPoint 簡報</vt:lpstr>
      <vt:lpstr>六大環境目的</vt:lpstr>
      <vt:lpstr>蒙特婁議定書　蒙特婁破壞臭氧層物質管制議定書 Montreal Protocol on Substances that Deplete the Ozone Layer</vt:lpstr>
      <vt:lpstr>環境目的貢獻之相互關聯</vt:lpstr>
      <vt:lpstr>礦業（非金屬製程） – 水泥生產　歐盟 </vt:lpstr>
      <vt:lpstr>金屬製程 – 鋼鐵生產　歐盟 鋼鐵</vt:lpstr>
      <vt:lpstr>不動產/建築業 – 新建築物　歐盟 </vt:lpstr>
      <vt:lpstr>不動產/建築業 – 既有建築物翻新　歐盟 </vt:lpstr>
      <vt:lpstr>歐盟分類標準規則：運輸業-客運與商用車輛氣候變遷減緩標準 1/2</vt:lpstr>
      <vt:lpstr>歐盟分類標準規則：運輸業-客運與商用車輛氣候變遷減緩標準 2/2</vt:lpstr>
      <vt:lpstr>PowerPoint 簡報</vt:lpstr>
      <vt:lpstr>PowerPoint 簡報</vt:lpstr>
      <vt:lpstr> 歐洲綠色新政 Fit for 55</vt:lpstr>
      <vt:lpstr>PowerPoint 簡報</vt:lpstr>
      <vt:lpstr>PowerPoint 簡報</vt:lpstr>
      <vt:lpstr>碳排放交易市場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綠色供應鏈電子業案例-Apple</vt:lpstr>
      <vt:lpstr>PowerPoint 簡報</vt:lpstr>
      <vt:lpstr>綠色供應鏈食品業案例-雀巢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挑戰一：難以接軌國際，形成貿易障礙</vt:lpstr>
      <vt:lpstr>台灣不僅不是國際環保協議的會員國，且國內綠色金融離世界太遙遠………</vt:lpstr>
      <vt:lpstr>挑戰二：欠缺科學量測，難有目標策略</vt:lpstr>
      <vt:lpstr>看不見的環境成本</vt:lpstr>
      <vt:lpstr>挑戰三：環境市場不彰，需要法制力量</vt:lpstr>
      <vt:lpstr>PowerPoint 簡報</vt:lpstr>
      <vt:lpstr>教育訓練－影片教學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減碳知識家</dc:title>
  <dc:creator>中經院cier-溫麗琪lihchyiwen</dc:creator>
  <cp:lastModifiedBy>CIER-CGE</cp:lastModifiedBy>
  <cp:revision>17</cp:revision>
  <dcterms:created xsi:type="dcterms:W3CDTF">2022-08-22T04:21:42Z</dcterms:created>
  <dcterms:modified xsi:type="dcterms:W3CDTF">2022-12-05T06:57:21Z</dcterms:modified>
</cp:coreProperties>
</file>